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0"/>
  </p:notesMasterIdLst>
  <p:sldIdLst>
    <p:sldId id="257" r:id="rId2"/>
    <p:sldId id="258" r:id="rId3"/>
    <p:sldId id="284" r:id="rId4"/>
    <p:sldId id="259" r:id="rId5"/>
    <p:sldId id="285" r:id="rId6"/>
    <p:sldId id="260" r:id="rId7"/>
    <p:sldId id="272" r:id="rId8"/>
    <p:sldId id="261" r:id="rId9"/>
    <p:sldId id="262" r:id="rId10"/>
    <p:sldId id="263" r:id="rId11"/>
    <p:sldId id="264" r:id="rId12"/>
    <p:sldId id="265" r:id="rId13"/>
    <p:sldId id="281" r:id="rId14"/>
    <p:sldId id="282" r:id="rId15"/>
    <p:sldId id="283" r:id="rId16"/>
    <p:sldId id="266" r:id="rId17"/>
    <p:sldId id="269" r:id="rId18"/>
    <p:sldId id="278" r:id="rId19"/>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9477"/>
    <p:restoredTop sz="94658"/>
  </p:normalViewPr>
  <p:slideViewPr>
    <p:cSldViewPr snapToGrid="0" snapToObjects="1">
      <p:cViewPr varScale="1">
        <p:scale>
          <a:sx n="102" d="100"/>
          <a:sy n="102" d="100"/>
        </p:scale>
        <p:origin x="192" y="46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8CD5EF-A258-4619-A829-1F930BBCD4BC}"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006DE689-4F53-4AEB-A31F-49AD63034539}">
      <dgm:prSet/>
      <dgm:spPr/>
      <dgm:t>
        <a:bodyPr/>
        <a:lstStyle/>
        <a:p>
          <a:r>
            <a:rPr lang="en-US"/>
            <a:t>Autism is a neurodevelopmental condition that affects how individuals communicate, interact, and process information.</a:t>
          </a:r>
        </a:p>
      </dgm:t>
    </dgm:pt>
    <dgm:pt modelId="{B8CC3BD9-533F-4C3F-BDB4-5B1A35929226}" type="parTrans" cxnId="{4F4F2A70-15FC-4657-9682-2786693623C1}">
      <dgm:prSet/>
      <dgm:spPr/>
      <dgm:t>
        <a:bodyPr/>
        <a:lstStyle/>
        <a:p>
          <a:endParaRPr lang="en-US"/>
        </a:p>
      </dgm:t>
    </dgm:pt>
    <dgm:pt modelId="{4FC7A41C-97F8-4518-8E77-6AB0DF36567B}" type="sibTrans" cxnId="{4F4F2A70-15FC-4657-9682-2786693623C1}">
      <dgm:prSet/>
      <dgm:spPr/>
      <dgm:t>
        <a:bodyPr/>
        <a:lstStyle/>
        <a:p>
          <a:endParaRPr lang="en-US"/>
        </a:p>
      </dgm:t>
    </dgm:pt>
    <dgm:pt modelId="{9AE9C409-6727-4C17-9173-4A9DBF1154AF}">
      <dgm:prSet/>
      <dgm:spPr/>
      <dgm:t>
        <a:bodyPr/>
        <a:lstStyle/>
        <a:p>
          <a:r>
            <a:rPr lang="en-US" dirty="0"/>
            <a:t>• It exists on a spectrum, and every individual’s strengths and challenges look different.</a:t>
          </a:r>
        </a:p>
      </dgm:t>
    </dgm:pt>
    <dgm:pt modelId="{9123FB44-B0DA-4161-8216-C467E8D796B5}" type="parTrans" cxnId="{D4E8CB9F-ECEB-4D77-9197-9BCED1EC56A5}">
      <dgm:prSet/>
      <dgm:spPr/>
      <dgm:t>
        <a:bodyPr/>
        <a:lstStyle/>
        <a:p>
          <a:endParaRPr lang="en-US"/>
        </a:p>
      </dgm:t>
    </dgm:pt>
    <dgm:pt modelId="{C68C9BF5-2A95-42CD-8F7F-F0B8D4266457}" type="sibTrans" cxnId="{D4E8CB9F-ECEB-4D77-9197-9BCED1EC56A5}">
      <dgm:prSet/>
      <dgm:spPr/>
      <dgm:t>
        <a:bodyPr/>
        <a:lstStyle/>
        <a:p>
          <a:endParaRPr lang="en-US"/>
        </a:p>
      </dgm:t>
    </dgm:pt>
    <dgm:pt modelId="{CF463FCB-0032-4915-83D6-E89A097F09E9}">
      <dgm:prSet/>
      <dgm:spPr/>
      <dgm:t>
        <a:bodyPr/>
        <a:lstStyle/>
        <a:p>
          <a:r>
            <a:rPr lang="en-US" dirty="0"/>
            <a:t>• Common areas impacted: communication, social interaction, sensory processing, and flexibility.</a:t>
          </a:r>
        </a:p>
      </dgm:t>
    </dgm:pt>
    <dgm:pt modelId="{1841F48C-5BBB-422B-BB49-EFF5A14C6603}" type="parTrans" cxnId="{E7E5DFC4-3C3B-43C0-9E8F-79F394D4D69E}">
      <dgm:prSet/>
      <dgm:spPr/>
      <dgm:t>
        <a:bodyPr/>
        <a:lstStyle/>
        <a:p>
          <a:endParaRPr lang="en-US"/>
        </a:p>
      </dgm:t>
    </dgm:pt>
    <dgm:pt modelId="{6B611FAD-FB1B-4B4C-BC6C-A6A72E3E64D3}" type="sibTrans" cxnId="{E7E5DFC4-3C3B-43C0-9E8F-79F394D4D69E}">
      <dgm:prSet/>
      <dgm:spPr/>
      <dgm:t>
        <a:bodyPr/>
        <a:lstStyle/>
        <a:p>
          <a:endParaRPr lang="en-US"/>
        </a:p>
      </dgm:t>
    </dgm:pt>
    <dgm:pt modelId="{C9DA6E2C-1564-450A-B85C-7C7722A1C531}">
      <dgm:prSet/>
      <dgm:spPr/>
      <dgm:t>
        <a:bodyPr/>
        <a:lstStyle/>
        <a:p>
          <a:r>
            <a:rPr lang="en-US" dirty="0"/>
            <a:t>• For SLPs: language goals often need to consider motivation, regulation, and sensory needs, not just articulation.</a:t>
          </a:r>
        </a:p>
      </dgm:t>
    </dgm:pt>
    <dgm:pt modelId="{5A07AAEB-F2A6-4219-95AD-C84D4F44F6F5}" type="parTrans" cxnId="{59380ACA-D12E-4E9E-A754-50D241933F15}">
      <dgm:prSet/>
      <dgm:spPr/>
      <dgm:t>
        <a:bodyPr/>
        <a:lstStyle/>
        <a:p>
          <a:endParaRPr lang="en-US"/>
        </a:p>
      </dgm:t>
    </dgm:pt>
    <dgm:pt modelId="{60274158-DF81-4C98-AB88-821687C2AFA9}" type="sibTrans" cxnId="{59380ACA-D12E-4E9E-A754-50D241933F15}">
      <dgm:prSet/>
      <dgm:spPr/>
      <dgm:t>
        <a:bodyPr/>
        <a:lstStyle/>
        <a:p>
          <a:endParaRPr lang="en-US"/>
        </a:p>
      </dgm:t>
    </dgm:pt>
    <dgm:pt modelId="{D62D246D-27D6-7F43-AD15-FA1430F3CAF8}" type="pres">
      <dgm:prSet presAssocID="{E48CD5EF-A258-4619-A829-1F930BBCD4BC}" presName="linear" presStyleCnt="0">
        <dgm:presLayoutVars>
          <dgm:animLvl val="lvl"/>
          <dgm:resizeHandles val="exact"/>
        </dgm:presLayoutVars>
      </dgm:prSet>
      <dgm:spPr/>
    </dgm:pt>
    <dgm:pt modelId="{7437639A-A545-394E-946C-0FB42FA35D59}" type="pres">
      <dgm:prSet presAssocID="{006DE689-4F53-4AEB-A31F-49AD63034539}" presName="parentText" presStyleLbl="node1" presStyleIdx="0" presStyleCnt="4">
        <dgm:presLayoutVars>
          <dgm:chMax val="0"/>
          <dgm:bulletEnabled val="1"/>
        </dgm:presLayoutVars>
      </dgm:prSet>
      <dgm:spPr/>
    </dgm:pt>
    <dgm:pt modelId="{430986B4-6A9B-784A-8B1B-4904507BCE56}" type="pres">
      <dgm:prSet presAssocID="{4FC7A41C-97F8-4518-8E77-6AB0DF36567B}" presName="spacer" presStyleCnt="0"/>
      <dgm:spPr/>
    </dgm:pt>
    <dgm:pt modelId="{1DE49C0F-EBD1-274C-9DF4-FE8D81E02913}" type="pres">
      <dgm:prSet presAssocID="{9AE9C409-6727-4C17-9173-4A9DBF1154AF}" presName="parentText" presStyleLbl="node1" presStyleIdx="1" presStyleCnt="4">
        <dgm:presLayoutVars>
          <dgm:chMax val="0"/>
          <dgm:bulletEnabled val="1"/>
        </dgm:presLayoutVars>
      </dgm:prSet>
      <dgm:spPr/>
    </dgm:pt>
    <dgm:pt modelId="{5C179AE0-1C4A-F544-BF57-01068647CBF5}" type="pres">
      <dgm:prSet presAssocID="{C68C9BF5-2A95-42CD-8F7F-F0B8D4266457}" presName="spacer" presStyleCnt="0"/>
      <dgm:spPr/>
    </dgm:pt>
    <dgm:pt modelId="{767E1646-AF41-0743-A60A-1D15A6317DCC}" type="pres">
      <dgm:prSet presAssocID="{CF463FCB-0032-4915-83D6-E89A097F09E9}" presName="parentText" presStyleLbl="node1" presStyleIdx="2" presStyleCnt="4">
        <dgm:presLayoutVars>
          <dgm:chMax val="0"/>
          <dgm:bulletEnabled val="1"/>
        </dgm:presLayoutVars>
      </dgm:prSet>
      <dgm:spPr/>
    </dgm:pt>
    <dgm:pt modelId="{6CF5AEAE-A66E-E34A-84AB-F3069EF77A78}" type="pres">
      <dgm:prSet presAssocID="{6B611FAD-FB1B-4B4C-BC6C-A6A72E3E64D3}" presName="spacer" presStyleCnt="0"/>
      <dgm:spPr/>
    </dgm:pt>
    <dgm:pt modelId="{C32DA7FC-55C5-BA41-B586-EB86CAAFBE03}" type="pres">
      <dgm:prSet presAssocID="{C9DA6E2C-1564-450A-B85C-7C7722A1C531}" presName="parentText" presStyleLbl="node1" presStyleIdx="3" presStyleCnt="4">
        <dgm:presLayoutVars>
          <dgm:chMax val="0"/>
          <dgm:bulletEnabled val="1"/>
        </dgm:presLayoutVars>
      </dgm:prSet>
      <dgm:spPr/>
    </dgm:pt>
  </dgm:ptLst>
  <dgm:cxnLst>
    <dgm:cxn modelId="{54DAA30C-D1CC-BF44-9E52-B33E38426B17}" type="presOf" srcId="{E48CD5EF-A258-4619-A829-1F930BBCD4BC}" destId="{D62D246D-27D6-7F43-AD15-FA1430F3CAF8}" srcOrd="0" destOrd="0" presId="urn:microsoft.com/office/officeart/2005/8/layout/vList2"/>
    <dgm:cxn modelId="{39B7DA23-3239-694B-8CC9-6A13A773A357}" type="presOf" srcId="{CF463FCB-0032-4915-83D6-E89A097F09E9}" destId="{767E1646-AF41-0743-A60A-1D15A6317DCC}" srcOrd="0" destOrd="0" presId="urn:microsoft.com/office/officeart/2005/8/layout/vList2"/>
    <dgm:cxn modelId="{AAB11C27-B810-A342-8CC6-E659C765C0E2}" type="presOf" srcId="{C9DA6E2C-1564-450A-B85C-7C7722A1C531}" destId="{C32DA7FC-55C5-BA41-B586-EB86CAAFBE03}" srcOrd="0" destOrd="0" presId="urn:microsoft.com/office/officeart/2005/8/layout/vList2"/>
    <dgm:cxn modelId="{52195751-05CB-104A-A6D0-CB90C50DC251}" type="presOf" srcId="{006DE689-4F53-4AEB-A31F-49AD63034539}" destId="{7437639A-A545-394E-946C-0FB42FA35D59}" srcOrd="0" destOrd="0" presId="urn:microsoft.com/office/officeart/2005/8/layout/vList2"/>
    <dgm:cxn modelId="{4F4F2A70-15FC-4657-9682-2786693623C1}" srcId="{E48CD5EF-A258-4619-A829-1F930BBCD4BC}" destId="{006DE689-4F53-4AEB-A31F-49AD63034539}" srcOrd="0" destOrd="0" parTransId="{B8CC3BD9-533F-4C3F-BDB4-5B1A35929226}" sibTransId="{4FC7A41C-97F8-4518-8E77-6AB0DF36567B}"/>
    <dgm:cxn modelId="{D4E8CB9F-ECEB-4D77-9197-9BCED1EC56A5}" srcId="{E48CD5EF-A258-4619-A829-1F930BBCD4BC}" destId="{9AE9C409-6727-4C17-9173-4A9DBF1154AF}" srcOrd="1" destOrd="0" parTransId="{9123FB44-B0DA-4161-8216-C467E8D796B5}" sibTransId="{C68C9BF5-2A95-42CD-8F7F-F0B8D4266457}"/>
    <dgm:cxn modelId="{E7E5DFC4-3C3B-43C0-9E8F-79F394D4D69E}" srcId="{E48CD5EF-A258-4619-A829-1F930BBCD4BC}" destId="{CF463FCB-0032-4915-83D6-E89A097F09E9}" srcOrd="2" destOrd="0" parTransId="{1841F48C-5BBB-422B-BB49-EFF5A14C6603}" sibTransId="{6B611FAD-FB1B-4B4C-BC6C-A6A72E3E64D3}"/>
    <dgm:cxn modelId="{59380ACA-D12E-4E9E-A754-50D241933F15}" srcId="{E48CD5EF-A258-4619-A829-1F930BBCD4BC}" destId="{C9DA6E2C-1564-450A-B85C-7C7722A1C531}" srcOrd="3" destOrd="0" parTransId="{5A07AAEB-F2A6-4219-95AD-C84D4F44F6F5}" sibTransId="{60274158-DF81-4C98-AB88-821687C2AFA9}"/>
    <dgm:cxn modelId="{93CE63DA-5150-9441-B4A2-05CCB2D87C43}" type="presOf" srcId="{9AE9C409-6727-4C17-9173-4A9DBF1154AF}" destId="{1DE49C0F-EBD1-274C-9DF4-FE8D81E02913}" srcOrd="0" destOrd="0" presId="urn:microsoft.com/office/officeart/2005/8/layout/vList2"/>
    <dgm:cxn modelId="{577365E8-35B6-E744-A4F3-0B3AA2052FA3}" type="presParOf" srcId="{D62D246D-27D6-7F43-AD15-FA1430F3CAF8}" destId="{7437639A-A545-394E-946C-0FB42FA35D59}" srcOrd="0" destOrd="0" presId="urn:microsoft.com/office/officeart/2005/8/layout/vList2"/>
    <dgm:cxn modelId="{8BC33FAA-D092-FA40-B124-1F6EF94DD366}" type="presParOf" srcId="{D62D246D-27D6-7F43-AD15-FA1430F3CAF8}" destId="{430986B4-6A9B-784A-8B1B-4904507BCE56}" srcOrd="1" destOrd="0" presId="urn:microsoft.com/office/officeart/2005/8/layout/vList2"/>
    <dgm:cxn modelId="{19ED081B-8262-E547-A165-DDB64419F027}" type="presParOf" srcId="{D62D246D-27D6-7F43-AD15-FA1430F3CAF8}" destId="{1DE49C0F-EBD1-274C-9DF4-FE8D81E02913}" srcOrd="2" destOrd="0" presId="urn:microsoft.com/office/officeart/2005/8/layout/vList2"/>
    <dgm:cxn modelId="{8B8649DA-0AD7-5B4F-9B0E-2E3AB411964C}" type="presParOf" srcId="{D62D246D-27D6-7F43-AD15-FA1430F3CAF8}" destId="{5C179AE0-1C4A-F544-BF57-01068647CBF5}" srcOrd="3" destOrd="0" presId="urn:microsoft.com/office/officeart/2005/8/layout/vList2"/>
    <dgm:cxn modelId="{E422B638-D9DA-E845-81A6-82208669BC0D}" type="presParOf" srcId="{D62D246D-27D6-7F43-AD15-FA1430F3CAF8}" destId="{767E1646-AF41-0743-A60A-1D15A6317DCC}" srcOrd="4" destOrd="0" presId="urn:microsoft.com/office/officeart/2005/8/layout/vList2"/>
    <dgm:cxn modelId="{0A6E9DFA-608E-BD4E-8F65-02B86F64B2D7}" type="presParOf" srcId="{D62D246D-27D6-7F43-AD15-FA1430F3CAF8}" destId="{6CF5AEAE-A66E-E34A-84AB-F3069EF77A78}" srcOrd="5" destOrd="0" presId="urn:microsoft.com/office/officeart/2005/8/layout/vList2"/>
    <dgm:cxn modelId="{BCEDD977-3F30-2B48-9847-5ED172D27B1C}" type="presParOf" srcId="{D62D246D-27D6-7F43-AD15-FA1430F3CAF8}" destId="{C32DA7FC-55C5-BA41-B586-EB86CAAFBE03}"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06DB26A-7BB3-42F8-B159-E868B6D43D1C}" type="doc">
      <dgm:prSet loTypeId="urn:microsoft.com/office/officeart/2005/8/layout/vProcess5" loCatId="process" qsTypeId="urn:microsoft.com/office/officeart/2005/8/quickstyle/simple1" qsCatId="simple" csTypeId="urn:microsoft.com/office/officeart/2005/8/colors/colorful1" csCatId="colorful" phldr="1"/>
      <dgm:spPr/>
      <dgm:t>
        <a:bodyPr/>
        <a:lstStyle/>
        <a:p>
          <a:endParaRPr lang="en-US"/>
        </a:p>
      </dgm:t>
    </dgm:pt>
    <dgm:pt modelId="{76CE0C94-AEB7-4582-899D-0E6101FA6EDC}">
      <dgm:prSet/>
      <dgm:spPr/>
      <dgm:t>
        <a:bodyPr/>
        <a:lstStyle/>
        <a:p>
          <a:pPr>
            <a:defRPr cap="all"/>
          </a:pPr>
          <a:r>
            <a:rPr lang="en-US"/>
            <a:t>Sophie repeats everything you say instead of answering your questions.</a:t>
          </a:r>
        </a:p>
      </dgm:t>
    </dgm:pt>
    <dgm:pt modelId="{B095AD68-9CD4-4B17-A60B-22D55EA34012}" type="parTrans" cxnId="{3F5682C9-0D36-41B2-AF29-6CDDFE4EA1F6}">
      <dgm:prSet/>
      <dgm:spPr/>
      <dgm:t>
        <a:bodyPr/>
        <a:lstStyle/>
        <a:p>
          <a:endParaRPr lang="en-US"/>
        </a:p>
      </dgm:t>
    </dgm:pt>
    <dgm:pt modelId="{09CCA12B-646F-4333-A649-7F03DC677972}" type="sibTrans" cxnId="{3F5682C9-0D36-41B2-AF29-6CDDFE4EA1F6}">
      <dgm:prSet/>
      <dgm:spPr/>
      <dgm:t>
        <a:bodyPr/>
        <a:lstStyle/>
        <a:p>
          <a:endParaRPr lang="en-US"/>
        </a:p>
      </dgm:t>
    </dgm:pt>
    <dgm:pt modelId="{360FBAC0-2F7E-D944-A1D5-8F127CA24F95}">
      <dgm:prSet/>
      <dgm:spPr/>
      <dgm:t>
        <a:bodyPr/>
        <a:lstStyle/>
        <a:p>
          <a:pPr>
            <a:defRPr cap="all"/>
          </a:pPr>
          <a:r>
            <a:rPr lang="en-US"/>
            <a:t>• How can ABA techniques teach functional responses (using fill-in-the-blank, practicing flexible answers)?</a:t>
          </a:r>
        </a:p>
      </dgm:t>
    </dgm:pt>
    <dgm:pt modelId="{7E4D8DD9-1101-034F-AA22-942B76C5FE8F}" type="parTrans" cxnId="{D8BE523D-DB02-2D45-9827-73EE07E9855E}">
      <dgm:prSet/>
      <dgm:spPr/>
      <dgm:t>
        <a:bodyPr/>
        <a:lstStyle/>
        <a:p>
          <a:endParaRPr lang="en-US"/>
        </a:p>
      </dgm:t>
    </dgm:pt>
    <dgm:pt modelId="{78C345CD-9793-134E-B71E-DA4E137956CB}" type="sibTrans" cxnId="{D8BE523D-DB02-2D45-9827-73EE07E9855E}">
      <dgm:prSet/>
      <dgm:spPr/>
      <dgm:t>
        <a:bodyPr/>
        <a:lstStyle/>
        <a:p>
          <a:endParaRPr lang="en-US"/>
        </a:p>
      </dgm:t>
    </dgm:pt>
    <dgm:pt modelId="{64AE7E5B-CF0E-AA4F-9B41-A234429A0E93}">
      <dgm:prSet/>
      <dgm:spPr/>
      <dgm:t>
        <a:bodyPr/>
        <a:lstStyle/>
        <a:p>
          <a:pPr>
            <a:defRPr cap="all"/>
          </a:pPr>
          <a:r>
            <a:rPr lang="en-US"/>
            <a:t>• How can SLPs use repetition constructively within therapy?</a:t>
          </a:r>
        </a:p>
      </dgm:t>
    </dgm:pt>
    <dgm:pt modelId="{0957E6AA-716E-0240-8B0E-8E0554AEB9EC}" type="parTrans" cxnId="{98B78E39-DD35-2B4A-BDE0-3059DC76B32D}">
      <dgm:prSet/>
      <dgm:spPr/>
      <dgm:t>
        <a:bodyPr/>
        <a:lstStyle/>
        <a:p>
          <a:endParaRPr lang="en-US"/>
        </a:p>
      </dgm:t>
    </dgm:pt>
    <dgm:pt modelId="{938E0C83-867C-A842-9FB3-8ACC92FFECB3}" type="sibTrans" cxnId="{98B78E39-DD35-2B4A-BDE0-3059DC76B32D}">
      <dgm:prSet/>
      <dgm:spPr/>
      <dgm:t>
        <a:bodyPr/>
        <a:lstStyle/>
        <a:p>
          <a:endParaRPr lang="en-US"/>
        </a:p>
      </dgm:t>
    </dgm:pt>
    <dgm:pt modelId="{2804EBC4-7163-2449-9285-0CA4F36381F2}" type="pres">
      <dgm:prSet presAssocID="{D06DB26A-7BB3-42F8-B159-E868B6D43D1C}" presName="outerComposite" presStyleCnt="0">
        <dgm:presLayoutVars>
          <dgm:chMax val="5"/>
          <dgm:dir/>
          <dgm:resizeHandles val="exact"/>
        </dgm:presLayoutVars>
      </dgm:prSet>
      <dgm:spPr/>
    </dgm:pt>
    <dgm:pt modelId="{70197309-1083-6C4D-9EDE-5C13C242B9A2}" type="pres">
      <dgm:prSet presAssocID="{D06DB26A-7BB3-42F8-B159-E868B6D43D1C}" presName="dummyMaxCanvas" presStyleCnt="0">
        <dgm:presLayoutVars/>
      </dgm:prSet>
      <dgm:spPr/>
    </dgm:pt>
    <dgm:pt modelId="{6705E3E7-501D-0C45-8910-7EDF50BC61B6}" type="pres">
      <dgm:prSet presAssocID="{D06DB26A-7BB3-42F8-B159-E868B6D43D1C}" presName="ThreeNodes_1" presStyleLbl="node1" presStyleIdx="0" presStyleCnt="3">
        <dgm:presLayoutVars>
          <dgm:bulletEnabled val="1"/>
        </dgm:presLayoutVars>
      </dgm:prSet>
      <dgm:spPr/>
    </dgm:pt>
    <dgm:pt modelId="{18D7BB75-03A9-CA40-90EC-28EA7353CF0A}" type="pres">
      <dgm:prSet presAssocID="{D06DB26A-7BB3-42F8-B159-E868B6D43D1C}" presName="ThreeNodes_2" presStyleLbl="node1" presStyleIdx="1" presStyleCnt="3">
        <dgm:presLayoutVars>
          <dgm:bulletEnabled val="1"/>
        </dgm:presLayoutVars>
      </dgm:prSet>
      <dgm:spPr/>
    </dgm:pt>
    <dgm:pt modelId="{B635D116-7A87-2A48-9A11-AA51F638A7BA}" type="pres">
      <dgm:prSet presAssocID="{D06DB26A-7BB3-42F8-B159-E868B6D43D1C}" presName="ThreeNodes_3" presStyleLbl="node1" presStyleIdx="2" presStyleCnt="3">
        <dgm:presLayoutVars>
          <dgm:bulletEnabled val="1"/>
        </dgm:presLayoutVars>
      </dgm:prSet>
      <dgm:spPr/>
    </dgm:pt>
    <dgm:pt modelId="{F6AEC4B9-E68E-1F4C-8BA0-6CD84A0FCACA}" type="pres">
      <dgm:prSet presAssocID="{D06DB26A-7BB3-42F8-B159-E868B6D43D1C}" presName="ThreeConn_1-2" presStyleLbl="fgAccFollowNode1" presStyleIdx="0" presStyleCnt="2">
        <dgm:presLayoutVars>
          <dgm:bulletEnabled val="1"/>
        </dgm:presLayoutVars>
      </dgm:prSet>
      <dgm:spPr/>
    </dgm:pt>
    <dgm:pt modelId="{4D0A6AEC-67AB-554D-B72E-2098B14E287F}" type="pres">
      <dgm:prSet presAssocID="{D06DB26A-7BB3-42F8-B159-E868B6D43D1C}" presName="ThreeConn_2-3" presStyleLbl="fgAccFollowNode1" presStyleIdx="1" presStyleCnt="2">
        <dgm:presLayoutVars>
          <dgm:bulletEnabled val="1"/>
        </dgm:presLayoutVars>
      </dgm:prSet>
      <dgm:spPr/>
    </dgm:pt>
    <dgm:pt modelId="{415D060B-382B-EE47-9EF9-FE59F70E8D88}" type="pres">
      <dgm:prSet presAssocID="{D06DB26A-7BB3-42F8-B159-E868B6D43D1C}" presName="ThreeNodes_1_text" presStyleLbl="node1" presStyleIdx="2" presStyleCnt="3">
        <dgm:presLayoutVars>
          <dgm:bulletEnabled val="1"/>
        </dgm:presLayoutVars>
      </dgm:prSet>
      <dgm:spPr/>
    </dgm:pt>
    <dgm:pt modelId="{B09672FD-32D2-024C-B966-1A13161BC007}" type="pres">
      <dgm:prSet presAssocID="{D06DB26A-7BB3-42F8-B159-E868B6D43D1C}" presName="ThreeNodes_2_text" presStyleLbl="node1" presStyleIdx="2" presStyleCnt="3">
        <dgm:presLayoutVars>
          <dgm:bulletEnabled val="1"/>
        </dgm:presLayoutVars>
      </dgm:prSet>
      <dgm:spPr/>
    </dgm:pt>
    <dgm:pt modelId="{5AD99C58-F21F-AB46-A4C5-642422120E0E}" type="pres">
      <dgm:prSet presAssocID="{D06DB26A-7BB3-42F8-B159-E868B6D43D1C}" presName="ThreeNodes_3_text" presStyleLbl="node1" presStyleIdx="2" presStyleCnt="3">
        <dgm:presLayoutVars>
          <dgm:bulletEnabled val="1"/>
        </dgm:presLayoutVars>
      </dgm:prSet>
      <dgm:spPr/>
    </dgm:pt>
  </dgm:ptLst>
  <dgm:cxnLst>
    <dgm:cxn modelId="{6EF5CA02-97D0-AC45-A1C4-3AD3AD0748E9}" type="presOf" srcId="{09CCA12B-646F-4333-A649-7F03DC677972}" destId="{F6AEC4B9-E68E-1F4C-8BA0-6CD84A0FCACA}" srcOrd="0" destOrd="0" presId="urn:microsoft.com/office/officeart/2005/8/layout/vProcess5"/>
    <dgm:cxn modelId="{CE2B4709-3E6B-9241-9D2F-1BB7FEC20658}" type="presOf" srcId="{64AE7E5B-CF0E-AA4F-9B41-A234429A0E93}" destId="{5AD99C58-F21F-AB46-A4C5-642422120E0E}" srcOrd="1" destOrd="0" presId="urn:microsoft.com/office/officeart/2005/8/layout/vProcess5"/>
    <dgm:cxn modelId="{3E12E92D-06DB-0C49-B79C-1BB0D0306510}" type="presOf" srcId="{D06DB26A-7BB3-42F8-B159-E868B6D43D1C}" destId="{2804EBC4-7163-2449-9285-0CA4F36381F2}" srcOrd="0" destOrd="0" presId="urn:microsoft.com/office/officeart/2005/8/layout/vProcess5"/>
    <dgm:cxn modelId="{2733F033-33ED-2145-AFC6-E62B765A026D}" type="presOf" srcId="{76CE0C94-AEB7-4582-899D-0E6101FA6EDC}" destId="{6705E3E7-501D-0C45-8910-7EDF50BC61B6}" srcOrd="0" destOrd="0" presId="urn:microsoft.com/office/officeart/2005/8/layout/vProcess5"/>
    <dgm:cxn modelId="{98B78E39-DD35-2B4A-BDE0-3059DC76B32D}" srcId="{D06DB26A-7BB3-42F8-B159-E868B6D43D1C}" destId="{64AE7E5B-CF0E-AA4F-9B41-A234429A0E93}" srcOrd="2" destOrd="0" parTransId="{0957E6AA-716E-0240-8B0E-8E0554AEB9EC}" sibTransId="{938E0C83-867C-A842-9FB3-8ACC92FFECB3}"/>
    <dgm:cxn modelId="{322C983B-A66F-7F4C-A039-9E693A931979}" type="presOf" srcId="{64AE7E5B-CF0E-AA4F-9B41-A234429A0E93}" destId="{B635D116-7A87-2A48-9A11-AA51F638A7BA}" srcOrd="0" destOrd="0" presId="urn:microsoft.com/office/officeart/2005/8/layout/vProcess5"/>
    <dgm:cxn modelId="{D8BE523D-DB02-2D45-9827-73EE07E9855E}" srcId="{D06DB26A-7BB3-42F8-B159-E868B6D43D1C}" destId="{360FBAC0-2F7E-D944-A1D5-8F127CA24F95}" srcOrd="1" destOrd="0" parTransId="{7E4D8DD9-1101-034F-AA22-942B76C5FE8F}" sibTransId="{78C345CD-9793-134E-B71E-DA4E137956CB}"/>
    <dgm:cxn modelId="{1D3D544A-E029-104D-8358-FFF0551EFC76}" type="presOf" srcId="{76CE0C94-AEB7-4582-899D-0E6101FA6EDC}" destId="{415D060B-382B-EE47-9EF9-FE59F70E8D88}" srcOrd="1" destOrd="0" presId="urn:microsoft.com/office/officeart/2005/8/layout/vProcess5"/>
    <dgm:cxn modelId="{A095AD4E-3C6D-1343-B78A-F56E13AA5B17}" type="presOf" srcId="{78C345CD-9793-134E-B71E-DA4E137956CB}" destId="{4D0A6AEC-67AB-554D-B72E-2098B14E287F}" srcOrd="0" destOrd="0" presId="urn:microsoft.com/office/officeart/2005/8/layout/vProcess5"/>
    <dgm:cxn modelId="{8038E387-F039-624A-A605-07FB63B232BD}" type="presOf" srcId="{360FBAC0-2F7E-D944-A1D5-8F127CA24F95}" destId="{B09672FD-32D2-024C-B966-1A13161BC007}" srcOrd="1" destOrd="0" presId="urn:microsoft.com/office/officeart/2005/8/layout/vProcess5"/>
    <dgm:cxn modelId="{B0D95093-BC92-4541-ABA8-3A1B5E74B731}" type="presOf" srcId="{360FBAC0-2F7E-D944-A1D5-8F127CA24F95}" destId="{18D7BB75-03A9-CA40-90EC-28EA7353CF0A}" srcOrd="0" destOrd="0" presId="urn:microsoft.com/office/officeart/2005/8/layout/vProcess5"/>
    <dgm:cxn modelId="{3F5682C9-0D36-41B2-AF29-6CDDFE4EA1F6}" srcId="{D06DB26A-7BB3-42F8-B159-E868B6D43D1C}" destId="{76CE0C94-AEB7-4582-899D-0E6101FA6EDC}" srcOrd="0" destOrd="0" parTransId="{B095AD68-9CD4-4B17-A60B-22D55EA34012}" sibTransId="{09CCA12B-646F-4333-A649-7F03DC677972}"/>
    <dgm:cxn modelId="{71CC36C3-B976-0445-9D14-8E6C89E491DE}" type="presParOf" srcId="{2804EBC4-7163-2449-9285-0CA4F36381F2}" destId="{70197309-1083-6C4D-9EDE-5C13C242B9A2}" srcOrd="0" destOrd="0" presId="urn:microsoft.com/office/officeart/2005/8/layout/vProcess5"/>
    <dgm:cxn modelId="{ACDEFEFE-2E32-AA46-B8FE-B81916A492A0}" type="presParOf" srcId="{2804EBC4-7163-2449-9285-0CA4F36381F2}" destId="{6705E3E7-501D-0C45-8910-7EDF50BC61B6}" srcOrd="1" destOrd="0" presId="urn:microsoft.com/office/officeart/2005/8/layout/vProcess5"/>
    <dgm:cxn modelId="{A9DBECB2-CEF7-F249-A2D8-899162DE16A9}" type="presParOf" srcId="{2804EBC4-7163-2449-9285-0CA4F36381F2}" destId="{18D7BB75-03A9-CA40-90EC-28EA7353CF0A}" srcOrd="2" destOrd="0" presId="urn:microsoft.com/office/officeart/2005/8/layout/vProcess5"/>
    <dgm:cxn modelId="{43B0BF44-FCFD-1C41-90D0-2AC207C0DA34}" type="presParOf" srcId="{2804EBC4-7163-2449-9285-0CA4F36381F2}" destId="{B635D116-7A87-2A48-9A11-AA51F638A7BA}" srcOrd="3" destOrd="0" presId="urn:microsoft.com/office/officeart/2005/8/layout/vProcess5"/>
    <dgm:cxn modelId="{95F24A33-14B7-4A47-AAA1-4F51402FE467}" type="presParOf" srcId="{2804EBC4-7163-2449-9285-0CA4F36381F2}" destId="{F6AEC4B9-E68E-1F4C-8BA0-6CD84A0FCACA}" srcOrd="4" destOrd="0" presId="urn:microsoft.com/office/officeart/2005/8/layout/vProcess5"/>
    <dgm:cxn modelId="{A1926B61-AD46-E746-9B26-DEE750B82675}" type="presParOf" srcId="{2804EBC4-7163-2449-9285-0CA4F36381F2}" destId="{4D0A6AEC-67AB-554D-B72E-2098B14E287F}" srcOrd="5" destOrd="0" presId="urn:microsoft.com/office/officeart/2005/8/layout/vProcess5"/>
    <dgm:cxn modelId="{CFDAF431-1631-E74B-8A95-2C3B57A4726B}" type="presParOf" srcId="{2804EBC4-7163-2449-9285-0CA4F36381F2}" destId="{415D060B-382B-EE47-9EF9-FE59F70E8D88}" srcOrd="6" destOrd="0" presId="urn:microsoft.com/office/officeart/2005/8/layout/vProcess5"/>
    <dgm:cxn modelId="{337A78BE-6711-2A45-9E60-08403F71AAFF}" type="presParOf" srcId="{2804EBC4-7163-2449-9285-0CA4F36381F2}" destId="{B09672FD-32D2-024C-B966-1A13161BC007}" srcOrd="7" destOrd="0" presId="urn:microsoft.com/office/officeart/2005/8/layout/vProcess5"/>
    <dgm:cxn modelId="{0A75052D-041C-E14E-AC7D-CAE2EB18A87B}" type="presParOf" srcId="{2804EBC4-7163-2449-9285-0CA4F36381F2}" destId="{5AD99C58-F21F-AB46-A4C5-642422120E0E}" srcOrd="8"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06DB26A-7BB3-42F8-B159-E868B6D43D1C}" type="doc">
      <dgm:prSet loTypeId="urn:microsoft.com/office/officeart/2005/8/layout/vProcess5" loCatId="process" qsTypeId="urn:microsoft.com/office/officeart/2005/8/quickstyle/simple1" qsCatId="simple" csTypeId="urn:microsoft.com/office/officeart/2005/8/colors/colorful2" csCatId="colorful" phldr="1"/>
      <dgm:spPr/>
      <dgm:t>
        <a:bodyPr/>
        <a:lstStyle/>
        <a:p>
          <a:endParaRPr lang="en-US"/>
        </a:p>
      </dgm:t>
    </dgm:pt>
    <dgm:pt modelId="{76CE0C94-AEB7-4582-899D-0E6101FA6EDC}">
      <dgm:prSet/>
      <dgm:spPr/>
      <dgm:t>
        <a:bodyPr/>
        <a:lstStyle/>
        <a:p>
          <a:pPr>
            <a:defRPr cap="all"/>
          </a:pPr>
          <a:r>
            <a:rPr lang="en-US"/>
            <a:t>Liam, age 5, has meltdowns when it’s time to leave speech therapy.</a:t>
          </a:r>
        </a:p>
      </dgm:t>
    </dgm:pt>
    <dgm:pt modelId="{B095AD68-9CD4-4B17-A60B-22D55EA34012}" type="parTrans" cxnId="{3F5682C9-0D36-41B2-AF29-6CDDFE4EA1F6}">
      <dgm:prSet/>
      <dgm:spPr/>
      <dgm:t>
        <a:bodyPr/>
        <a:lstStyle/>
        <a:p>
          <a:endParaRPr lang="en-US"/>
        </a:p>
      </dgm:t>
    </dgm:pt>
    <dgm:pt modelId="{09CCA12B-646F-4333-A649-7F03DC677972}" type="sibTrans" cxnId="{3F5682C9-0D36-41B2-AF29-6CDDFE4EA1F6}">
      <dgm:prSet/>
      <dgm:spPr/>
      <dgm:t>
        <a:bodyPr/>
        <a:lstStyle/>
        <a:p>
          <a:endParaRPr lang="en-US"/>
        </a:p>
      </dgm:t>
    </dgm:pt>
    <dgm:pt modelId="{ECBEBBCF-78ED-554A-8DDC-59A932355527}">
      <dgm:prSet/>
      <dgm:spPr/>
      <dgm:t>
        <a:bodyPr/>
        <a:lstStyle/>
        <a:p>
          <a:pPr>
            <a:defRPr cap="all"/>
          </a:pPr>
          <a:r>
            <a:rPr lang="en-US"/>
            <a:t>• How can ABA strategies (visual schedules, countdowns, reinforcement) help smooth transitions?</a:t>
          </a:r>
        </a:p>
      </dgm:t>
    </dgm:pt>
    <dgm:pt modelId="{6C3AE786-198C-1046-B033-D905C36A5EDC}" type="parTrans" cxnId="{B74B22E2-D68F-4446-B24C-F8315CA71115}">
      <dgm:prSet/>
      <dgm:spPr/>
      <dgm:t>
        <a:bodyPr/>
        <a:lstStyle/>
        <a:p>
          <a:endParaRPr lang="en-US"/>
        </a:p>
      </dgm:t>
    </dgm:pt>
    <dgm:pt modelId="{7AFA41BD-0006-1A40-8EA8-3A7E17FBEA43}" type="sibTrans" cxnId="{B74B22E2-D68F-4446-B24C-F8315CA71115}">
      <dgm:prSet/>
      <dgm:spPr/>
      <dgm:t>
        <a:bodyPr/>
        <a:lstStyle/>
        <a:p>
          <a:endParaRPr lang="en-US"/>
        </a:p>
      </dgm:t>
    </dgm:pt>
    <dgm:pt modelId="{7B8A6F4F-CD01-2544-BC81-4E7BCF8869B0}">
      <dgm:prSet/>
      <dgm:spPr/>
      <dgm:t>
        <a:bodyPr/>
        <a:lstStyle/>
        <a:p>
          <a:pPr>
            <a:defRPr cap="all"/>
          </a:pPr>
          <a:r>
            <a:rPr lang="en-US"/>
            <a:t>• How can SLPs integrate communication choices into transitions (like saying 'one more minute' or 'all done')?</a:t>
          </a:r>
        </a:p>
      </dgm:t>
    </dgm:pt>
    <dgm:pt modelId="{B2ED129F-94F6-2441-9927-CAE4AC0F0DB9}" type="parTrans" cxnId="{BB255E66-F6FC-6745-8DD6-30DD8D192D9D}">
      <dgm:prSet/>
      <dgm:spPr/>
      <dgm:t>
        <a:bodyPr/>
        <a:lstStyle/>
        <a:p>
          <a:endParaRPr lang="en-US"/>
        </a:p>
      </dgm:t>
    </dgm:pt>
    <dgm:pt modelId="{4DBF8860-A014-5C4A-BE06-88823156761E}" type="sibTrans" cxnId="{BB255E66-F6FC-6745-8DD6-30DD8D192D9D}">
      <dgm:prSet/>
      <dgm:spPr/>
      <dgm:t>
        <a:bodyPr/>
        <a:lstStyle/>
        <a:p>
          <a:endParaRPr lang="en-US"/>
        </a:p>
      </dgm:t>
    </dgm:pt>
    <dgm:pt modelId="{B7BF312D-EA1C-5640-ADEE-BF7B68F79C82}" type="pres">
      <dgm:prSet presAssocID="{D06DB26A-7BB3-42F8-B159-E868B6D43D1C}" presName="outerComposite" presStyleCnt="0">
        <dgm:presLayoutVars>
          <dgm:chMax val="5"/>
          <dgm:dir/>
          <dgm:resizeHandles val="exact"/>
        </dgm:presLayoutVars>
      </dgm:prSet>
      <dgm:spPr/>
    </dgm:pt>
    <dgm:pt modelId="{16D8A167-2F14-AB46-B717-DA522049F22F}" type="pres">
      <dgm:prSet presAssocID="{D06DB26A-7BB3-42F8-B159-E868B6D43D1C}" presName="dummyMaxCanvas" presStyleCnt="0">
        <dgm:presLayoutVars/>
      </dgm:prSet>
      <dgm:spPr/>
    </dgm:pt>
    <dgm:pt modelId="{94D2951C-2705-F342-B728-27AB002C354E}" type="pres">
      <dgm:prSet presAssocID="{D06DB26A-7BB3-42F8-B159-E868B6D43D1C}" presName="ThreeNodes_1" presStyleLbl="node1" presStyleIdx="0" presStyleCnt="3">
        <dgm:presLayoutVars>
          <dgm:bulletEnabled val="1"/>
        </dgm:presLayoutVars>
      </dgm:prSet>
      <dgm:spPr/>
    </dgm:pt>
    <dgm:pt modelId="{4CB6E2E5-0078-A041-AC1D-7B0A10C2DBE6}" type="pres">
      <dgm:prSet presAssocID="{D06DB26A-7BB3-42F8-B159-E868B6D43D1C}" presName="ThreeNodes_2" presStyleLbl="node1" presStyleIdx="1" presStyleCnt="3">
        <dgm:presLayoutVars>
          <dgm:bulletEnabled val="1"/>
        </dgm:presLayoutVars>
      </dgm:prSet>
      <dgm:spPr/>
    </dgm:pt>
    <dgm:pt modelId="{E3811686-12D4-374E-ADD7-7AB0DE8FB012}" type="pres">
      <dgm:prSet presAssocID="{D06DB26A-7BB3-42F8-B159-E868B6D43D1C}" presName="ThreeNodes_3" presStyleLbl="node1" presStyleIdx="2" presStyleCnt="3">
        <dgm:presLayoutVars>
          <dgm:bulletEnabled val="1"/>
        </dgm:presLayoutVars>
      </dgm:prSet>
      <dgm:spPr/>
    </dgm:pt>
    <dgm:pt modelId="{98E0AC80-F0DC-AA41-B9CE-8D866C3ED0E8}" type="pres">
      <dgm:prSet presAssocID="{D06DB26A-7BB3-42F8-B159-E868B6D43D1C}" presName="ThreeConn_1-2" presStyleLbl="fgAccFollowNode1" presStyleIdx="0" presStyleCnt="2">
        <dgm:presLayoutVars>
          <dgm:bulletEnabled val="1"/>
        </dgm:presLayoutVars>
      </dgm:prSet>
      <dgm:spPr/>
    </dgm:pt>
    <dgm:pt modelId="{A81F9390-9FD9-D54F-B4C7-CE2CD20FB583}" type="pres">
      <dgm:prSet presAssocID="{D06DB26A-7BB3-42F8-B159-E868B6D43D1C}" presName="ThreeConn_2-3" presStyleLbl="fgAccFollowNode1" presStyleIdx="1" presStyleCnt="2">
        <dgm:presLayoutVars>
          <dgm:bulletEnabled val="1"/>
        </dgm:presLayoutVars>
      </dgm:prSet>
      <dgm:spPr/>
    </dgm:pt>
    <dgm:pt modelId="{977109F3-DE6D-3E4B-BD2D-7E325B3B0587}" type="pres">
      <dgm:prSet presAssocID="{D06DB26A-7BB3-42F8-B159-E868B6D43D1C}" presName="ThreeNodes_1_text" presStyleLbl="node1" presStyleIdx="2" presStyleCnt="3">
        <dgm:presLayoutVars>
          <dgm:bulletEnabled val="1"/>
        </dgm:presLayoutVars>
      </dgm:prSet>
      <dgm:spPr/>
    </dgm:pt>
    <dgm:pt modelId="{1A7F1FC6-7C92-9544-8F04-16B2FBC544BB}" type="pres">
      <dgm:prSet presAssocID="{D06DB26A-7BB3-42F8-B159-E868B6D43D1C}" presName="ThreeNodes_2_text" presStyleLbl="node1" presStyleIdx="2" presStyleCnt="3">
        <dgm:presLayoutVars>
          <dgm:bulletEnabled val="1"/>
        </dgm:presLayoutVars>
      </dgm:prSet>
      <dgm:spPr/>
    </dgm:pt>
    <dgm:pt modelId="{A581B094-090E-FA43-B5E6-8E745E7B9CDB}" type="pres">
      <dgm:prSet presAssocID="{D06DB26A-7BB3-42F8-B159-E868B6D43D1C}" presName="ThreeNodes_3_text" presStyleLbl="node1" presStyleIdx="2" presStyleCnt="3">
        <dgm:presLayoutVars>
          <dgm:bulletEnabled val="1"/>
        </dgm:presLayoutVars>
      </dgm:prSet>
      <dgm:spPr/>
    </dgm:pt>
  </dgm:ptLst>
  <dgm:cxnLst>
    <dgm:cxn modelId="{490F0208-48D9-604B-A02D-D0FE208990FB}" type="presOf" srcId="{76CE0C94-AEB7-4582-899D-0E6101FA6EDC}" destId="{94D2951C-2705-F342-B728-27AB002C354E}" srcOrd="0" destOrd="0" presId="urn:microsoft.com/office/officeart/2005/8/layout/vProcess5"/>
    <dgm:cxn modelId="{E094FC36-B5AB-8C45-B3A8-A54B868E90F6}" type="presOf" srcId="{7AFA41BD-0006-1A40-8EA8-3A7E17FBEA43}" destId="{A81F9390-9FD9-D54F-B4C7-CE2CD20FB583}" srcOrd="0" destOrd="0" presId="urn:microsoft.com/office/officeart/2005/8/layout/vProcess5"/>
    <dgm:cxn modelId="{17739E3B-D909-CE4F-85C7-91B19F9A6B92}" type="presOf" srcId="{D06DB26A-7BB3-42F8-B159-E868B6D43D1C}" destId="{B7BF312D-EA1C-5640-ADEE-BF7B68F79C82}" srcOrd="0" destOrd="0" presId="urn:microsoft.com/office/officeart/2005/8/layout/vProcess5"/>
    <dgm:cxn modelId="{7B38184B-CBF2-1D4E-A52B-F274EB254CB2}" type="presOf" srcId="{76CE0C94-AEB7-4582-899D-0E6101FA6EDC}" destId="{977109F3-DE6D-3E4B-BD2D-7E325B3B0587}" srcOrd="1" destOrd="0" presId="urn:microsoft.com/office/officeart/2005/8/layout/vProcess5"/>
    <dgm:cxn modelId="{0432E84D-901F-CC47-BE1A-CFBBBFEB52B3}" type="presOf" srcId="{7B8A6F4F-CD01-2544-BC81-4E7BCF8869B0}" destId="{A581B094-090E-FA43-B5E6-8E745E7B9CDB}" srcOrd="1" destOrd="0" presId="urn:microsoft.com/office/officeart/2005/8/layout/vProcess5"/>
    <dgm:cxn modelId="{BB255E66-F6FC-6745-8DD6-30DD8D192D9D}" srcId="{D06DB26A-7BB3-42F8-B159-E868B6D43D1C}" destId="{7B8A6F4F-CD01-2544-BC81-4E7BCF8869B0}" srcOrd="2" destOrd="0" parTransId="{B2ED129F-94F6-2441-9927-CAE4AC0F0DB9}" sibTransId="{4DBF8860-A014-5C4A-BE06-88823156761E}"/>
    <dgm:cxn modelId="{F95AA766-8019-1D4B-AE2A-7EBB3817D77B}" type="presOf" srcId="{ECBEBBCF-78ED-554A-8DDC-59A932355527}" destId="{4CB6E2E5-0078-A041-AC1D-7B0A10C2DBE6}" srcOrd="0" destOrd="0" presId="urn:microsoft.com/office/officeart/2005/8/layout/vProcess5"/>
    <dgm:cxn modelId="{B1D910C1-D33E-0447-BE65-7A365B66C54A}" type="presOf" srcId="{7B8A6F4F-CD01-2544-BC81-4E7BCF8869B0}" destId="{E3811686-12D4-374E-ADD7-7AB0DE8FB012}" srcOrd="0" destOrd="0" presId="urn:microsoft.com/office/officeart/2005/8/layout/vProcess5"/>
    <dgm:cxn modelId="{3F5682C9-0D36-41B2-AF29-6CDDFE4EA1F6}" srcId="{D06DB26A-7BB3-42F8-B159-E868B6D43D1C}" destId="{76CE0C94-AEB7-4582-899D-0E6101FA6EDC}" srcOrd="0" destOrd="0" parTransId="{B095AD68-9CD4-4B17-A60B-22D55EA34012}" sibTransId="{09CCA12B-646F-4333-A649-7F03DC677972}"/>
    <dgm:cxn modelId="{5528D4CA-E162-424B-9A9D-AD04733E1805}" type="presOf" srcId="{ECBEBBCF-78ED-554A-8DDC-59A932355527}" destId="{1A7F1FC6-7C92-9544-8F04-16B2FBC544BB}" srcOrd="1" destOrd="0" presId="urn:microsoft.com/office/officeart/2005/8/layout/vProcess5"/>
    <dgm:cxn modelId="{11C683CE-4AF9-FA46-9F91-1157CA0B1299}" type="presOf" srcId="{09CCA12B-646F-4333-A649-7F03DC677972}" destId="{98E0AC80-F0DC-AA41-B9CE-8D866C3ED0E8}" srcOrd="0" destOrd="0" presId="urn:microsoft.com/office/officeart/2005/8/layout/vProcess5"/>
    <dgm:cxn modelId="{B74B22E2-D68F-4446-B24C-F8315CA71115}" srcId="{D06DB26A-7BB3-42F8-B159-E868B6D43D1C}" destId="{ECBEBBCF-78ED-554A-8DDC-59A932355527}" srcOrd="1" destOrd="0" parTransId="{6C3AE786-198C-1046-B033-D905C36A5EDC}" sibTransId="{7AFA41BD-0006-1A40-8EA8-3A7E17FBEA43}"/>
    <dgm:cxn modelId="{80D39DA0-F3BF-0841-AB65-B489CF623068}" type="presParOf" srcId="{B7BF312D-EA1C-5640-ADEE-BF7B68F79C82}" destId="{16D8A167-2F14-AB46-B717-DA522049F22F}" srcOrd="0" destOrd="0" presId="urn:microsoft.com/office/officeart/2005/8/layout/vProcess5"/>
    <dgm:cxn modelId="{9FD78863-6CAA-D844-804F-8AD575AB5A33}" type="presParOf" srcId="{B7BF312D-EA1C-5640-ADEE-BF7B68F79C82}" destId="{94D2951C-2705-F342-B728-27AB002C354E}" srcOrd="1" destOrd="0" presId="urn:microsoft.com/office/officeart/2005/8/layout/vProcess5"/>
    <dgm:cxn modelId="{19D72AC5-2D0C-AB44-9FF2-C8DA09B548DD}" type="presParOf" srcId="{B7BF312D-EA1C-5640-ADEE-BF7B68F79C82}" destId="{4CB6E2E5-0078-A041-AC1D-7B0A10C2DBE6}" srcOrd="2" destOrd="0" presId="urn:microsoft.com/office/officeart/2005/8/layout/vProcess5"/>
    <dgm:cxn modelId="{8D0440E6-B183-7640-965E-3CA687ED6B4D}" type="presParOf" srcId="{B7BF312D-EA1C-5640-ADEE-BF7B68F79C82}" destId="{E3811686-12D4-374E-ADD7-7AB0DE8FB012}" srcOrd="3" destOrd="0" presId="urn:microsoft.com/office/officeart/2005/8/layout/vProcess5"/>
    <dgm:cxn modelId="{E7201DAD-666B-B64E-89BC-C5E38E45C9C1}" type="presParOf" srcId="{B7BF312D-EA1C-5640-ADEE-BF7B68F79C82}" destId="{98E0AC80-F0DC-AA41-B9CE-8D866C3ED0E8}" srcOrd="4" destOrd="0" presId="urn:microsoft.com/office/officeart/2005/8/layout/vProcess5"/>
    <dgm:cxn modelId="{26648DD2-C3DB-8C4E-9B88-48E1FAE0D72F}" type="presParOf" srcId="{B7BF312D-EA1C-5640-ADEE-BF7B68F79C82}" destId="{A81F9390-9FD9-D54F-B4C7-CE2CD20FB583}" srcOrd="5" destOrd="0" presId="urn:microsoft.com/office/officeart/2005/8/layout/vProcess5"/>
    <dgm:cxn modelId="{2DC7DD7F-846B-1B47-92AF-0D9AC9378525}" type="presParOf" srcId="{B7BF312D-EA1C-5640-ADEE-BF7B68F79C82}" destId="{977109F3-DE6D-3E4B-BD2D-7E325B3B0587}" srcOrd="6" destOrd="0" presId="urn:microsoft.com/office/officeart/2005/8/layout/vProcess5"/>
    <dgm:cxn modelId="{3343F32B-A77B-794D-9D6E-0C4F10152415}" type="presParOf" srcId="{B7BF312D-EA1C-5640-ADEE-BF7B68F79C82}" destId="{1A7F1FC6-7C92-9544-8F04-16B2FBC544BB}" srcOrd="7" destOrd="0" presId="urn:microsoft.com/office/officeart/2005/8/layout/vProcess5"/>
    <dgm:cxn modelId="{9CA3E8E3-6874-8B47-B7E2-00C500A04699}" type="presParOf" srcId="{B7BF312D-EA1C-5640-ADEE-BF7B68F79C82}" destId="{A581B094-090E-FA43-B5E6-8E745E7B9CDB}" srcOrd="8"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79D1437-2E76-4BEE-A196-B397FD4599B3}" type="doc">
      <dgm:prSet loTypeId="urn:microsoft.com/office/officeart/2005/8/layout/vProcess5" loCatId="process" qsTypeId="urn:microsoft.com/office/officeart/2005/8/quickstyle/simple1" qsCatId="simple" csTypeId="urn:microsoft.com/office/officeart/2005/8/colors/colorful1" csCatId="colorful" phldr="1"/>
      <dgm:spPr/>
      <dgm:t>
        <a:bodyPr/>
        <a:lstStyle/>
        <a:p>
          <a:endParaRPr lang="en-US"/>
        </a:p>
      </dgm:t>
    </dgm:pt>
    <dgm:pt modelId="{A0D68ECC-7139-4B8F-8903-BA653925166E}">
      <dgm:prSet/>
      <dgm:spPr/>
      <dgm:t>
        <a:bodyPr/>
        <a:lstStyle/>
        <a:p>
          <a:r>
            <a:rPr lang="en-US" dirty="0"/>
            <a:t>Work in small groups to combine ABA and speech goals for a single case.</a:t>
          </a:r>
        </a:p>
      </dgm:t>
    </dgm:pt>
    <dgm:pt modelId="{A5C91F6D-D9E2-4037-BA2E-407859D7C658}" type="parTrans" cxnId="{E6780895-B9B0-4A1F-8718-70DAB4FFD085}">
      <dgm:prSet/>
      <dgm:spPr/>
      <dgm:t>
        <a:bodyPr/>
        <a:lstStyle/>
        <a:p>
          <a:endParaRPr lang="en-US"/>
        </a:p>
      </dgm:t>
    </dgm:pt>
    <dgm:pt modelId="{B03B7C25-B510-45DE-B7C9-EE444EE928BC}" type="sibTrans" cxnId="{E6780895-B9B0-4A1F-8718-70DAB4FFD085}">
      <dgm:prSet/>
      <dgm:spPr/>
      <dgm:t>
        <a:bodyPr/>
        <a:lstStyle/>
        <a:p>
          <a:endParaRPr lang="en-US"/>
        </a:p>
      </dgm:t>
    </dgm:pt>
    <dgm:pt modelId="{A1C4AE48-89B6-C84D-93CE-23129FD27668}">
      <dgm:prSet/>
      <dgm:spPr/>
      <dgm:t>
        <a:bodyPr/>
        <a:lstStyle/>
        <a:p>
          <a:r>
            <a:rPr lang="en-US"/>
            <a:t>Example Goal: Teach a child to request a snack using a communication device.</a:t>
          </a:r>
          <a:endParaRPr lang="en-US" dirty="0"/>
        </a:p>
      </dgm:t>
    </dgm:pt>
    <dgm:pt modelId="{13545BA8-E10F-C849-B025-15A817F2623B}" type="parTrans" cxnId="{570FD27A-AB54-3F45-AB44-653F8021E7D7}">
      <dgm:prSet/>
      <dgm:spPr/>
      <dgm:t>
        <a:bodyPr/>
        <a:lstStyle/>
        <a:p>
          <a:endParaRPr lang="en-US"/>
        </a:p>
      </dgm:t>
    </dgm:pt>
    <dgm:pt modelId="{F4BC689F-D069-9D40-B7BC-57B30851C028}" type="sibTrans" cxnId="{570FD27A-AB54-3F45-AB44-653F8021E7D7}">
      <dgm:prSet/>
      <dgm:spPr/>
      <dgm:t>
        <a:bodyPr/>
        <a:lstStyle/>
        <a:p>
          <a:endParaRPr lang="en-US"/>
        </a:p>
      </dgm:t>
    </dgm:pt>
    <dgm:pt modelId="{4A92CCDD-211D-C94E-8357-F88682D6B4CE}">
      <dgm:prSet/>
      <dgm:spPr/>
      <dgm:t>
        <a:bodyPr/>
        <a:lstStyle/>
        <a:p>
          <a:r>
            <a:rPr lang="en-US"/>
            <a:t>• SLP: Focus on expanding vocabulary and sentence structure.</a:t>
          </a:r>
          <a:endParaRPr lang="en-US" dirty="0"/>
        </a:p>
      </dgm:t>
    </dgm:pt>
    <dgm:pt modelId="{DCA4EF98-F12F-724B-8233-38AC14DCDE64}" type="parTrans" cxnId="{CE779C61-3EC4-DC4B-8B0D-3EF0D94A06CB}">
      <dgm:prSet/>
      <dgm:spPr/>
      <dgm:t>
        <a:bodyPr/>
        <a:lstStyle/>
        <a:p>
          <a:endParaRPr lang="en-US"/>
        </a:p>
      </dgm:t>
    </dgm:pt>
    <dgm:pt modelId="{51E65C3F-48E3-A142-AAAE-4EE2807DB5AB}" type="sibTrans" cxnId="{CE779C61-3EC4-DC4B-8B0D-3EF0D94A06CB}">
      <dgm:prSet/>
      <dgm:spPr/>
      <dgm:t>
        <a:bodyPr/>
        <a:lstStyle/>
        <a:p>
          <a:endParaRPr lang="en-US"/>
        </a:p>
      </dgm:t>
    </dgm:pt>
    <dgm:pt modelId="{AA647EFF-8FD7-DD40-8EEB-B8C19E1A7F5B}">
      <dgm:prSet/>
      <dgm:spPr/>
      <dgm:t>
        <a:bodyPr/>
        <a:lstStyle/>
        <a:p>
          <a:r>
            <a:rPr lang="en-US"/>
            <a:t>• ABA: Reinforce all attempts and fade prompts gradually.</a:t>
          </a:r>
          <a:endParaRPr lang="en-US" dirty="0"/>
        </a:p>
      </dgm:t>
    </dgm:pt>
    <dgm:pt modelId="{7365479F-6DA8-5C41-A6E1-87EF01727C71}" type="parTrans" cxnId="{C6F751BE-AFCB-D44F-AECE-A6D8D1CD9CCF}">
      <dgm:prSet/>
      <dgm:spPr/>
      <dgm:t>
        <a:bodyPr/>
        <a:lstStyle/>
        <a:p>
          <a:endParaRPr lang="en-US"/>
        </a:p>
      </dgm:t>
    </dgm:pt>
    <dgm:pt modelId="{FC332AD3-4CAF-6F49-A638-DFBC0C6E30CB}" type="sibTrans" cxnId="{C6F751BE-AFCB-D44F-AECE-A6D8D1CD9CCF}">
      <dgm:prSet/>
      <dgm:spPr/>
      <dgm:t>
        <a:bodyPr/>
        <a:lstStyle/>
        <a:p>
          <a:endParaRPr lang="en-US"/>
        </a:p>
      </dgm:t>
    </dgm:pt>
    <dgm:pt modelId="{235787FA-4F09-E24F-97E1-ED244A996658}">
      <dgm:prSet/>
      <dgm:spPr/>
      <dgm:t>
        <a:bodyPr/>
        <a:lstStyle/>
        <a:p>
          <a:r>
            <a:rPr lang="en-US"/>
            <a:t>Collaboration ensures consistency across sessions and settings.</a:t>
          </a:r>
          <a:endParaRPr lang="en-US" dirty="0"/>
        </a:p>
      </dgm:t>
    </dgm:pt>
    <dgm:pt modelId="{AC6DA16A-7D7B-7546-B438-B36FDA9537D4}" type="parTrans" cxnId="{A5216289-2EBF-B84C-A26D-084AE79F4DBE}">
      <dgm:prSet/>
      <dgm:spPr/>
      <dgm:t>
        <a:bodyPr/>
        <a:lstStyle/>
        <a:p>
          <a:endParaRPr lang="en-US"/>
        </a:p>
      </dgm:t>
    </dgm:pt>
    <dgm:pt modelId="{F1A7A2C4-C64B-EA42-B6FE-A0B762CC2262}" type="sibTrans" cxnId="{A5216289-2EBF-B84C-A26D-084AE79F4DBE}">
      <dgm:prSet/>
      <dgm:spPr/>
      <dgm:t>
        <a:bodyPr/>
        <a:lstStyle/>
        <a:p>
          <a:endParaRPr lang="en-US"/>
        </a:p>
      </dgm:t>
    </dgm:pt>
    <dgm:pt modelId="{8D16CBB4-B807-FF48-8249-4EAB265CD900}" type="pres">
      <dgm:prSet presAssocID="{879D1437-2E76-4BEE-A196-B397FD4599B3}" presName="outerComposite" presStyleCnt="0">
        <dgm:presLayoutVars>
          <dgm:chMax val="5"/>
          <dgm:dir/>
          <dgm:resizeHandles val="exact"/>
        </dgm:presLayoutVars>
      </dgm:prSet>
      <dgm:spPr/>
    </dgm:pt>
    <dgm:pt modelId="{37FD1A47-7D1A-5C43-87DE-7F34150568C5}" type="pres">
      <dgm:prSet presAssocID="{879D1437-2E76-4BEE-A196-B397FD4599B3}" presName="dummyMaxCanvas" presStyleCnt="0">
        <dgm:presLayoutVars/>
      </dgm:prSet>
      <dgm:spPr/>
    </dgm:pt>
    <dgm:pt modelId="{5BA05970-6190-4B44-B89F-090ACFCF363F}" type="pres">
      <dgm:prSet presAssocID="{879D1437-2E76-4BEE-A196-B397FD4599B3}" presName="FiveNodes_1" presStyleLbl="node1" presStyleIdx="0" presStyleCnt="5">
        <dgm:presLayoutVars>
          <dgm:bulletEnabled val="1"/>
        </dgm:presLayoutVars>
      </dgm:prSet>
      <dgm:spPr/>
    </dgm:pt>
    <dgm:pt modelId="{7E4FAD56-2E47-CD4B-B5C7-7A07960B327B}" type="pres">
      <dgm:prSet presAssocID="{879D1437-2E76-4BEE-A196-B397FD4599B3}" presName="FiveNodes_2" presStyleLbl="node1" presStyleIdx="1" presStyleCnt="5">
        <dgm:presLayoutVars>
          <dgm:bulletEnabled val="1"/>
        </dgm:presLayoutVars>
      </dgm:prSet>
      <dgm:spPr/>
    </dgm:pt>
    <dgm:pt modelId="{2F9BA2FA-82A9-6843-B169-DE83BA6A46EC}" type="pres">
      <dgm:prSet presAssocID="{879D1437-2E76-4BEE-A196-B397FD4599B3}" presName="FiveNodes_3" presStyleLbl="node1" presStyleIdx="2" presStyleCnt="5">
        <dgm:presLayoutVars>
          <dgm:bulletEnabled val="1"/>
        </dgm:presLayoutVars>
      </dgm:prSet>
      <dgm:spPr/>
    </dgm:pt>
    <dgm:pt modelId="{AC55DC14-B6F0-264D-B865-E1C477EA95FE}" type="pres">
      <dgm:prSet presAssocID="{879D1437-2E76-4BEE-A196-B397FD4599B3}" presName="FiveNodes_4" presStyleLbl="node1" presStyleIdx="3" presStyleCnt="5">
        <dgm:presLayoutVars>
          <dgm:bulletEnabled val="1"/>
        </dgm:presLayoutVars>
      </dgm:prSet>
      <dgm:spPr/>
    </dgm:pt>
    <dgm:pt modelId="{8E5236F8-1C41-2340-BC06-6B024A0C6277}" type="pres">
      <dgm:prSet presAssocID="{879D1437-2E76-4BEE-A196-B397FD4599B3}" presName="FiveNodes_5" presStyleLbl="node1" presStyleIdx="4" presStyleCnt="5">
        <dgm:presLayoutVars>
          <dgm:bulletEnabled val="1"/>
        </dgm:presLayoutVars>
      </dgm:prSet>
      <dgm:spPr/>
    </dgm:pt>
    <dgm:pt modelId="{FA3EDBE8-3B2F-5144-9E02-91BD05D50643}" type="pres">
      <dgm:prSet presAssocID="{879D1437-2E76-4BEE-A196-B397FD4599B3}" presName="FiveConn_1-2" presStyleLbl="fgAccFollowNode1" presStyleIdx="0" presStyleCnt="4">
        <dgm:presLayoutVars>
          <dgm:bulletEnabled val="1"/>
        </dgm:presLayoutVars>
      </dgm:prSet>
      <dgm:spPr/>
    </dgm:pt>
    <dgm:pt modelId="{FCE3172B-06F7-BA43-8DD8-4699D513541C}" type="pres">
      <dgm:prSet presAssocID="{879D1437-2E76-4BEE-A196-B397FD4599B3}" presName="FiveConn_2-3" presStyleLbl="fgAccFollowNode1" presStyleIdx="1" presStyleCnt="4">
        <dgm:presLayoutVars>
          <dgm:bulletEnabled val="1"/>
        </dgm:presLayoutVars>
      </dgm:prSet>
      <dgm:spPr/>
    </dgm:pt>
    <dgm:pt modelId="{7B8A9F5D-B0E9-D048-93D9-ED3E3B10BE94}" type="pres">
      <dgm:prSet presAssocID="{879D1437-2E76-4BEE-A196-B397FD4599B3}" presName="FiveConn_3-4" presStyleLbl="fgAccFollowNode1" presStyleIdx="2" presStyleCnt="4">
        <dgm:presLayoutVars>
          <dgm:bulletEnabled val="1"/>
        </dgm:presLayoutVars>
      </dgm:prSet>
      <dgm:spPr/>
    </dgm:pt>
    <dgm:pt modelId="{5DEFB51C-6122-B946-AACF-6F5BBB0A0F5B}" type="pres">
      <dgm:prSet presAssocID="{879D1437-2E76-4BEE-A196-B397FD4599B3}" presName="FiveConn_4-5" presStyleLbl="fgAccFollowNode1" presStyleIdx="3" presStyleCnt="4">
        <dgm:presLayoutVars>
          <dgm:bulletEnabled val="1"/>
        </dgm:presLayoutVars>
      </dgm:prSet>
      <dgm:spPr/>
    </dgm:pt>
    <dgm:pt modelId="{E688AE69-6B9D-0843-8E8E-EB6697260107}" type="pres">
      <dgm:prSet presAssocID="{879D1437-2E76-4BEE-A196-B397FD4599B3}" presName="FiveNodes_1_text" presStyleLbl="node1" presStyleIdx="4" presStyleCnt="5">
        <dgm:presLayoutVars>
          <dgm:bulletEnabled val="1"/>
        </dgm:presLayoutVars>
      </dgm:prSet>
      <dgm:spPr/>
    </dgm:pt>
    <dgm:pt modelId="{19690D2B-3C35-764D-BD42-DEF27687D746}" type="pres">
      <dgm:prSet presAssocID="{879D1437-2E76-4BEE-A196-B397FD4599B3}" presName="FiveNodes_2_text" presStyleLbl="node1" presStyleIdx="4" presStyleCnt="5">
        <dgm:presLayoutVars>
          <dgm:bulletEnabled val="1"/>
        </dgm:presLayoutVars>
      </dgm:prSet>
      <dgm:spPr/>
    </dgm:pt>
    <dgm:pt modelId="{6C9C3BA9-0379-7E4D-B251-CC53456E9351}" type="pres">
      <dgm:prSet presAssocID="{879D1437-2E76-4BEE-A196-B397FD4599B3}" presName="FiveNodes_3_text" presStyleLbl="node1" presStyleIdx="4" presStyleCnt="5">
        <dgm:presLayoutVars>
          <dgm:bulletEnabled val="1"/>
        </dgm:presLayoutVars>
      </dgm:prSet>
      <dgm:spPr/>
    </dgm:pt>
    <dgm:pt modelId="{84D89533-D899-1347-BF4F-5A39DA2E602C}" type="pres">
      <dgm:prSet presAssocID="{879D1437-2E76-4BEE-A196-B397FD4599B3}" presName="FiveNodes_4_text" presStyleLbl="node1" presStyleIdx="4" presStyleCnt="5">
        <dgm:presLayoutVars>
          <dgm:bulletEnabled val="1"/>
        </dgm:presLayoutVars>
      </dgm:prSet>
      <dgm:spPr/>
    </dgm:pt>
    <dgm:pt modelId="{C83D5964-41E1-D94A-9C54-6AA229CDACF9}" type="pres">
      <dgm:prSet presAssocID="{879D1437-2E76-4BEE-A196-B397FD4599B3}" presName="FiveNodes_5_text" presStyleLbl="node1" presStyleIdx="4" presStyleCnt="5">
        <dgm:presLayoutVars>
          <dgm:bulletEnabled val="1"/>
        </dgm:presLayoutVars>
      </dgm:prSet>
      <dgm:spPr/>
    </dgm:pt>
  </dgm:ptLst>
  <dgm:cxnLst>
    <dgm:cxn modelId="{A59D5D12-D74B-E841-9664-E558BCCDCF22}" type="presOf" srcId="{A0D68ECC-7139-4B8F-8903-BA653925166E}" destId="{E688AE69-6B9D-0843-8E8E-EB6697260107}" srcOrd="1" destOrd="0" presId="urn:microsoft.com/office/officeart/2005/8/layout/vProcess5"/>
    <dgm:cxn modelId="{C245431E-C8E6-9F4E-8F4C-33D26910A902}" type="presOf" srcId="{A1C4AE48-89B6-C84D-93CE-23129FD27668}" destId="{19690D2B-3C35-764D-BD42-DEF27687D746}" srcOrd="1" destOrd="0" presId="urn:microsoft.com/office/officeart/2005/8/layout/vProcess5"/>
    <dgm:cxn modelId="{49C05037-3986-6E44-9023-7145E247665B}" type="presOf" srcId="{51E65C3F-48E3-A142-AAAE-4EE2807DB5AB}" destId="{7B8A9F5D-B0E9-D048-93D9-ED3E3B10BE94}" srcOrd="0" destOrd="0" presId="urn:microsoft.com/office/officeart/2005/8/layout/vProcess5"/>
    <dgm:cxn modelId="{D63A144D-64B7-FF4C-8F51-CE69EF76E724}" type="presOf" srcId="{4A92CCDD-211D-C94E-8357-F88682D6B4CE}" destId="{6C9C3BA9-0379-7E4D-B251-CC53456E9351}" srcOrd="1" destOrd="0" presId="urn:microsoft.com/office/officeart/2005/8/layout/vProcess5"/>
    <dgm:cxn modelId="{CE779C61-3EC4-DC4B-8B0D-3EF0D94A06CB}" srcId="{879D1437-2E76-4BEE-A196-B397FD4599B3}" destId="{4A92CCDD-211D-C94E-8357-F88682D6B4CE}" srcOrd="2" destOrd="0" parTransId="{DCA4EF98-F12F-724B-8233-38AC14DCDE64}" sibTransId="{51E65C3F-48E3-A142-AAAE-4EE2807DB5AB}"/>
    <dgm:cxn modelId="{97B73564-F55D-2B43-9F75-F02430BE73ED}" type="presOf" srcId="{235787FA-4F09-E24F-97E1-ED244A996658}" destId="{8E5236F8-1C41-2340-BC06-6B024A0C6277}" srcOrd="0" destOrd="0" presId="urn:microsoft.com/office/officeart/2005/8/layout/vProcess5"/>
    <dgm:cxn modelId="{0D761E69-563A-8748-8DCC-9C3254AFAFB1}" type="presOf" srcId="{AA647EFF-8FD7-DD40-8EEB-B8C19E1A7F5B}" destId="{AC55DC14-B6F0-264D-B865-E1C477EA95FE}" srcOrd="0" destOrd="0" presId="urn:microsoft.com/office/officeart/2005/8/layout/vProcess5"/>
    <dgm:cxn modelId="{FC925F6C-6C1D-C14E-875F-F4F2974A38D5}" type="presOf" srcId="{B03B7C25-B510-45DE-B7C9-EE444EE928BC}" destId="{FA3EDBE8-3B2F-5144-9E02-91BD05D50643}" srcOrd="0" destOrd="0" presId="urn:microsoft.com/office/officeart/2005/8/layout/vProcess5"/>
    <dgm:cxn modelId="{82EB726F-5055-FB40-AD60-C2AE7D78139D}" type="presOf" srcId="{235787FA-4F09-E24F-97E1-ED244A996658}" destId="{C83D5964-41E1-D94A-9C54-6AA229CDACF9}" srcOrd="1" destOrd="0" presId="urn:microsoft.com/office/officeart/2005/8/layout/vProcess5"/>
    <dgm:cxn modelId="{570FD27A-AB54-3F45-AB44-653F8021E7D7}" srcId="{879D1437-2E76-4BEE-A196-B397FD4599B3}" destId="{A1C4AE48-89B6-C84D-93CE-23129FD27668}" srcOrd="1" destOrd="0" parTransId="{13545BA8-E10F-C849-B025-15A817F2623B}" sibTransId="{F4BC689F-D069-9D40-B7BC-57B30851C028}"/>
    <dgm:cxn modelId="{14413C82-4B32-DD48-B5EE-F890901DAF45}" type="presOf" srcId="{A0D68ECC-7139-4B8F-8903-BA653925166E}" destId="{5BA05970-6190-4B44-B89F-090ACFCF363F}" srcOrd="0" destOrd="0" presId="urn:microsoft.com/office/officeart/2005/8/layout/vProcess5"/>
    <dgm:cxn modelId="{CA551284-B029-314E-AFAC-7F384945B879}" type="presOf" srcId="{4A92CCDD-211D-C94E-8357-F88682D6B4CE}" destId="{2F9BA2FA-82A9-6843-B169-DE83BA6A46EC}" srcOrd="0" destOrd="0" presId="urn:microsoft.com/office/officeart/2005/8/layout/vProcess5"/>
    <dgm:cxn modelId="{A5216289-2EBF-B84C-A26D-084AE79F4DBE}" srcId="{879D1437-2E76-4BEE-A196-B397FD4599B3}" destId="{235787FA-4F09-E24F-97E1-ED244A996658}" srcOrd="4" destOrd="0" parTransId="{AC6DA16A-7D7B-7546-B438-B36FDA9537D4}" sibTransId="{F1A7A2C4-C64B-EA42-B6FE-A0B762CC2262}"/>
    <dgm:cxn modelId="{98C6318C-CFF0-984B-974F-9339C6571F58}" type="presOf" srcId="{AA647EFF-8FD7-DD40-8EEB-B8C19E1A7F5B}" destId="{84D89533-D899-1347-BF4F-5A39DA2E602C}" srcOrd="1" destOrd="0" presId="urn:microsoft.com/office/officeart/2005/8/layout/vProcess5"/>
    <dgm:cxn modelId="{B896C98D-27CF-F146-B0AF-9D6041BA12FF}" type="presOf" srcId="{879D1437-2E76-4BEE-A196-B397FD4599B3}" destId="{8D16CBB4-B807-FF48-8249-4EAB265CD900}" srcOrd="0" destOrd="0" presId="urn:microsoft.com/office/officeart/2005/8/layout/vProcess5"/>
    <dgm:cxn modelId="{E6780895-B9B0-4A1F-8718-70DAB4FFD085}" srcId="{879D1437-2E76-4BEE-A196-B397FD4599B3}" destId="{A0D68ECC-7139-4B8F-8903-BA653925166E}" srcOrd="0" destOrd="0" parTransId="{A5C91F6D-D9E2-4037-BA2E-407859D7C658}" sibTransId="{B03B7C25-B510-45DE-B7C9-EE444EE928BC}"/>
    <dgm:cxn modelId="{EEC15299-876E-F94B-A1D4-67B45676527D}" type="presOf" srcId="{F4BC689F-D069-9D40-B7BC-57B30851C028}" destId="{FCE3172B-06F7-BA43-8DD8-4699D513541C}" srcOrd="0" destOrd="0" presId="urn:microsoft.com/office/officeart/2005/8/layout/vProcess5"/>
    <dgm:cxn modelId="{C6F751BE-AFCB-D44F-AECE-A6D8D1CD9CCF}" srcId="{879D1437-2E76-4BEE-A196-B397FD4599B3}" destId="{AA647EFF-8FD7-DD40-8EEB-B8C19E1A7F5B}" srcOrd="3" destOrd="0" parTransId="{7365479F-6DA8-5C41-A6E1-87EF01727C71}" sibTransId="{FC332AD3-4CAF-6F49-A638-DFBC0C6E30CB}"/>
    <dgm:cxn modelId="{C5A02ACD-0A44-1044-9C7E-986D79FE94A8}" type="presOf" srcId="{A1C4AE48-89B6-C84D-93CE-23129FD27668}" destId="{7E4FAD56-2E47-CD4B-B5C7-7A07960B327B}" srcOrd="0" destOrd="0" presId="urn:microsoft.com/office/officeart/2005/8/layout/vProcess5"/>
    <dgm:cxn modelId="{A973B6D2-234F-1D42-8DD7-72DE663C8127}" type="presOf" srcId="{FC332AD3-4CAF-6F49-A638-DFBC0C6E30CB}" destId="{5DEFB51C-6122-B946-AACF-6F5BBB0A0F5B}" srcOrd="0" destOrd="0" presId="urn:microsoft.com/office/officeart/2005/8/layout/vProcess5"/>
    <dgm:cxn modelId="{92E6F458-838A-3E42-BEBD-69FDF01B7743}" type="presParOf" srcId="{8D16CBB4-B807-FF48-8249-4EAB265CD900}" destId="{37FD1A47-7D1A-5C43-87DE-7F34150568C5}" srcOrd="0" destOrd="0" presId="urn:microsoft.com/office/officeart/2005/8/layout/vProcess5"/>
    <dgm:cxn modelId="{371A1E9F-EBFD-C446-AF50-9C3F7F1771EB}" type="presParOf" srcId="{8D16CBB4-B807-FF48-8249-4EAB265CD900}" destId="{5BA05970-6190-4B44-B89F-090ACFCF363F}" srcOrd="1" destOrd="0" presId="urn:microsoft.com/office/officeart/2005/8/layout/vProcess5"/>
    <dgm:cxn modelId="{538F40E8-FF71-C04F-97B2-5195AB085929}" type="presParOf" srcId="{8D16CBB4-B807-FF48-8249-4EAB265CD900}" destId="{7E4FAD56-2E47-CD4B-B5C7-7A07960B327B}" srcOrd="2" destOrd="0" presId="urn:microsoft.com/office/officeart/2005/8/layout/vProcess5"/>
    <dgm:cxn modelId="{8AC4164E-7F2D-F848-9D58-A7C2E54EE326}" type="presParOf" srcId="{8D16CBB4-B807-FF48-8249-4EAB265CD900}" destId="{2F9BA2FA-82A9-6843-B169-DE83BA6A46EC}" srcOrd="3" destOrd="0" presId="urn:microsoft.com/office/officeart/2005/8/layout/vProcess5"/>
    <dgm:cxn modelId="{B8AFCF2E-8633-C043-9E9A-5003639BEB76}" type="presParOf" srcId="{8D16CBB4-B807-FF48-8249-4EAB265CD900}" destId="{AC55DC14-B6F0-264D-B865-E1C477EA95FE}" srcOrd="4" destOrd="0" presId="urn:microsoft.com/office/officeart/2005/8/layout/vProcess5"/>
    <dgm:cxn modelId="{8F9B0A10-AFBB-7A41-A65C-96ABBDB1D7D7}" type="presParOf" srcId="{8D16CBB4-B807-FF48-8249-4EAB265CD900}" destId="{8E5236F8-1C41-2340-BC06-6B024A0C6277}" srcOrd="5" destOrd="0" presId="urn:microsoft.com/office/officeart/2005/8/layout/vProcess5"/>
    <dgm:cxn modelId="{77EA407F-ACD6-014A-97F3-DD9FC26AA709}" type="presParOf" srcId="{8D16CBB4-B807-FF48-8249-4EAB265CD900}" destId="{FA3EDBE8-3B2F-5144-9E02-91BD05D50643}" srcOrd="6" destOrd="0" presId="urn:microsoft.com/office/officeart/2005/8/layout/vProcess5"/>
    <dgm:cxn modelId="{018C5A35-39BD-334B-9A44-025932352C4F}" type="presParOf" srcId="{8D16CBB4-B807-FF48-8249-4EAB265CD900}" destId="{FCE3172B-06F7-BA43-8DD8-4699D513541C}" srcOrd="7" destOrd="0" presId="urn:microsoft.com/office/officeart/2005/8/layout/vProcess5"/>
    <dgm:cxn modelId="{715CCFA9-5303-8445-8914-7F86E62A46FF}" type="presParOf" srcId="{8D16CBB4-B807-FF48-8249-4EAB265CD900}" destId="{7B8A9F5D-B0E9-D048-93D9-ED3E3B10BE94}" srcOrd="8" destOrd="0" presId="urn:microsoft.com/office/officeart/2005/8/layout/vProcess5"/>
    <dgm:cxn modelId="{4DEBABC5-A327-B144-8D0E-0C9293F155AF}" type="presParOf" srcId="{8D16CBB4-B807-FF48-8249-4EAB265CD900}" destId="{5DEFB51C-6122-B946-AACF-6F5BBB0A0F5B}" srcOrd="9" destOrd="0" presId="urn:microsoft.com/office/officeart/2005/8/layout/vProcess5"/>
    <dgm:cxn modelId="{35F0A1B0-3B5C-F643-B316-D400B100C372}" type="presParOf" srcId="{8D16CBB4-B807-FF48-8249-4EAB265CD900}" destId="{E688AE69-6B9D-0843-8E8E-EB6697260107}" srcOrd="10" destOrd="0" presId="urn:microsoft.com/office/officeart/2005/8/layout/vProcess5"/>
    <dgm:cxn modelId="{B1C555F7-A305-C34D-8833-507FD6C5576A}" type="presParOf" srcId="{8D16CBB4-B807-FF48-8249-4EAB265CD900}" destId="{19690D2B-3C35-764D-BD42-DEF27687D746}" srcOrd="11" destOrd="0" presId="urn:microsoft.com/office/officeart/2005/8/layout/vProcess5"/>
    <dgm:cxn modelId="{3407DBDE-87B3-AB47-AC29-74F3F1DC7369}" type="presParOf" srcId="{8D16CBB4-B807-FF48-8249-4EAB265CD900}" destId="{6C9C3BA9-0379-7E4D-B251-CC53456E9351}" srcOrd="12" destOrd="0" presId="urn:microsoft.com/office/officeart/2005/8/layout/vProcess5"/>
    <dgm:cxn modelId="{099A9532-9C42-7640-A816-927F10B5C57E}" type="presParOf" srcId="{8D16CBB4-B807-FF48-8249-4EAB265CD900}" destId="{84D89533-D899-1347-BF4F-5A39DA2E602C}" srcOrd="13" destOrd="0" presId="urn:microsoft.com/office/officeart/2005/8/layout/vProcess5"/>
    <dgm:cxn modelId="{5BF81C25-867A-5046-84EE-6252C5C6B07D}" type="presParOf" srcId="{8D16CBB4-B807-FF48-8249-4EAB265CD900}" destId="{C83D5964-41E1-D94A-9C54-6AA229CDACF9}"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E66A0C4C-9143-4290-947F-BA915FAFA303}" type="doc">
      <dgm:prSet loTypeId="urn:microsoft.com/office/officeart/2005/8/layout/vProcess5" loCatId="process" qsTypeId="urn:microsoft.com/office/officeart/2005/8/quickstyle/simple1" qsCatId="simple" csTypeId="urn:microsoft.com/office/officeart/2005/8/colors/colorful2" csCatId="colorful" phldr="1"/>
      <dgm:spPr/>
      <dgm:t>
        <a:bodyPr/>
        <a:lstStyle/>
        <a:p>
          <a:endParaRPr lang="en-US"/>
        </a:p>
      </dgm:t>
    </dgm:pt>
    <dgm:pt modelId="{E4DA1715-3DEE-4512-BB58-1F5C1B6FC10A}">
      <dgm:prSet/>
      <dgm:spPr/>
      <dgm:t>
        <a:bodyPr/>
        <a:lstStyle/>
        <a:p>
          <a:r>
            <a:rPr lang="en-US" dirty="0"/>
            <a:t>Key Takeaways:</a:t>
          </a:r>
        </a:p>
      </dgm:t>
    </dgm:pt>
    <dgm:pt modelId="{DD0B345D-EC48-4C3C-A0DF-EF38B400B4A8}" type="parTrans" cxnId="{E48F961F-C4EA-415D-990C-210F8E6E0C6A}">
      <dgm:prSet/>
      <dgm:spPr/>
      <dgm:t>
        <a:bodyPr/>
        <a:lstStyle/>
        <a:p>
          <a:endParaRPr lang="en-US"/>
        </a:p>
      </dgm:t>
    </dgm:pt>
    <dgm:pt modelId="{E1451F34-C386-46CD-A2EF-F50ACFA56350}" type="sibTrans" cxnId="{E48F961F-C4EA-415D-990C-210F8E6E0C6A}">
      <dgm:prSet/>
      <dgm:spPr/>
      <dgm:t>
        <a:bodyPr/>
        <a:lstStyle/>
        <a:p>
          <a:endParaRPr lang="en-US"/>
        </a:p>
      </dgm:t>
    </dgm:pt>
    <dgm:pt modelId="{0E296B76-A400-1743-8460-10EEA80F341B}">
      <dgm:prSet/>
      <dgm:spPr/>
      <dgm:t>
        <a:bodyPr/>
        <a:lstStyle/>
        <a:p>
          <a:r>
            <a:rPr lang="en-US"/>
            <a:t>• ABA and Speech Therapy complement each other — collaboration enhances outcomes.</a:t>
          </a:r>
          <a:endParaRPr lang="en-US" dirty="0"/>
        </a:p>
      </dgm:t>
    </dgm:pt>
    <dgm:pt modelId="{2EB7533A-37C1-7B42-B342-C0C2BDF86E11}" type="parTrans" cxnId="{EC3EFF3A-E91F-2B45-AC4C-18068498EAE4}">
      <dgm:prSet/>
      <dgm:spPr/>
      <dgm:t>
        <a:bodyPr/>
        <a:lstStyle/>
        <a:p>
          <a:endParaRPr lang="en-US"/>
        </a:p>
      </dgm:t>
    </dgm:pt>
    <dgm:pt modelId="{D2DF3682-69A2-1B4A-A0F7-AA7C1A069D11}" type="sibTrans" cxnId="{EC3EFF3A-E91F-2B45-AC4C-18068498EAE4}">
      <dgm:prSet/>
      <dgm:spPr/>
      <dgm:t>
        <a:bodyPr/>
        <a:lstStyle/>
        <a:p>
          <a:endParaRPr lang="en-US"/>
        </a:p>
      </dgm:t>
    </dgm:pt>
    <dgm:pt modelId="{E72DFAFC-A44E-BF4C-9E02-D88B47B882BD}">
      <dgm:prSet/>
      <dgm:spPr/>
      <dgm:t>
        <a:bodyPr/>
        <a:lstStyle/>
        <a:p>
          <a:r>
            <a:rPr lang="en-US"/>
            <a:t>• Clear communication between disciplines is vital.</a:t>
          </a:r>
          <a:endParaRPr lang="en-US" dirty="0"/>
        </a:p>
      </dgm:t>
    </dgm:pt>
    <dgm:pt modelId="{73502589-B294-BA4D-B08D-1680C9770BF2}" type="parTrans" cxnId="{9CE5E506-4DE1-A043-88E8-962DF167FFF6}">
      <dgm:prSet/>
      <dgm:spPr/>
      <dgm:t>
        <a:bodyPr/>
        <a:lstStyle/>
        <a:p>
          <a:endParaRPr lang="en-US"/>
        </a:p>
      </dgm:t>
    </dgm:pt>
    <dgm:pt modelId="{BEF56C54-05B6-4D4F-BA3D-6B074E1333B9}" type="sibTrans" cxnId="{9CE5E506-4DE1-A043-88E8-962DF167FFF6}">
      <dgm:prSet/>
      <dgm:spPr/>
      <dgm:t>
        <a:bodyPr/>
        <a:lstStyle/>
        <a:p>
          <a:endParaRPr lang="en-US"/>
        </a:p>
      </dgm:t>
    </dgm:pt>
    <dgm:pt modelId="{8B6045FF-36A2-5E44-A386-0D8FBCD779FF}">
      <dgm:prSet/>
      <dgm:spPr/>
      <dgm:t>
        <a:bodyPr/>
        <a:lstStyle/>
        <a:p>
          <a:r>
            <a:rPr lang="en-US"/>
            <a:t>• Every child benefits when professionals work as one team.</a:t>
          </a:r>
          <a:endParaRPr lang="en-US" dirty="0"/>
        </a:p>
      </dgm:t>
    </dgm:pt>
    <dgm:pt modelId="{4E43E5C5-DB01-DA40-BF8C-A9BEA03BD06B}" type="parTrans" cxnId="{15447A3E-AFEB-1D4D-8407-6BE7C02DAA5B}">
      <dgm:prSet/>
      <dgm:spPr/>
      <dgm:t>
        <a:bodyPr/>
        <a:lstStyle/>
        <a:p>
          <a:endParaRPr lang="en-US"/>
        </a:p>
      </dgm:t>
    </dgm:pt>
    <dgm:pt modelId="{66268810-1172-3F4A-89FC-AEFAB553E934}" type="sibTrans" cxnId="{15447A3E-AFEB-1D4D-8407-6BE7C02DAA5B}">
      <dgm:prSet/>
      <dgm:spPr/>
      <dgm:t>
        <a:bodyPr/>
        <a:lstStyle/>
        <a:p>
          <a:endParaRPr lang="en-US"/>
        </a:p>
      </dgm:t>
    </dgm:pt>
    <dgm:pt modelId="{A9D2E5BB-298D-1A4D-A96A-6CE3A681972F}">
      <dgm:prSet/>
      <dgm:spPr/>
      <dgm:t>
        <a:bodyPr/>
        <a:lstStyle/>
        <a:p>
          <a:r>
            <a:rPr lang="en-US"/>
            <a:t>Questions &amp; open discussion.</a:t>
          </a:r>
          <a:endParaRPr lang="en-US" dirty="0"/>
        </a:p>
      </dgm:t>
    </dgm:pt>
    <dgm:pt modelId="{F11A9CC9-20F9-EB44-9524-9C657E15C972}" type="parTrans" cxnId="{40C8D827-C88F-E24D-B17A-1F1BB3F86FA3}">
      <dgm:prSet/>
      <dgm:spPr/>
      <dgm:t>
        <a:bodyPr/>
        <a:lstStyle/>
        <a:p>
          <a:endParaRPr lang="en-US"/>
        </a:p>
      </dgm:t>
    </dgm:pt>
    <dgm:pt modelId="{C47E8BD8-B2CB-5E4C-8CA8-4DCDC2BEA2A9}" type="sibTrans" cxnId="{40C8D827-C88F-E24D-B17A-1F1BB3F86FA3}">
      <dgm:prSet/>
      <dgm:spPr/>
      <dgm:t>
        <a:bodyPr/>
        <a:lstStyle/>
        <a:p>
          <a:endParaRPr lang="en-US"/>
        </a:p>
      </dgm:t>
    </dgm:pt>
    <dgm:pt modelId="{7D40382F-247A-E54E-AC76-751136B8EF2C}" type="pres">
      <dgm:prSet presAssocID="{E66A0C4C-9143-4290-947F-BA915FAFA303}" presName="outerComposite" presStyleCnt="0">
        <dgm:presLayoutVars>
          <dgm:chMax val="5"/>
          <dgm:dir/>
          <dgm:resizeHandles val="exact"/>
        </dgm:presLayoutVars>
      </dgm:prSet>
      <dgm:spPr/>
    </dgm:pt>
    <dgm:pt modelId="{303E9C03-1F3D-D642-95A4-C8BF10AE51BC}" type="pres">
      <dgm:prSet presAssocID="{E66A0C4C-9143-4290-947F-BA915FAFA303}" presName="dummyMaxCanvas" presStyleCnt="0">
        <dgm:presLayoutVars/>
      </dgm:prSet>
      <dgm:spPr/>
    </dgm:pt>
    <dgm:pt modelId="{B1042EA6-826A-0042-BB30-B8942DE82D63}" type="pres">
      <dgm:prSet presAssocID="{E66A0C4C-9143-4290-947F-BA915FAFA303}" presName="FiveNodes_1" presStyleLbl="node1" presStyleIdx="0" presStyleCnt="5">
        <dgm:presLayoutVars>
          <dgm:bulletEnabled val="1"/>
        </dgm:presLayoutVars>
      </dgm:prSet>
      <dgm:spPr/>
    </dgm:pt>
    <dgm:pt modelId="{F5F5369F-46C7-724A-904E-C71D1EE13915}" type="pres">
      <dgm:prSet presAssocID="{E66A0C4C-9143-4290-947F-BA915FAFA303}" presName="FiveNodes_2" presStyleLbl="node1" presStyleIdx="1" presStyleCnt="5">
        <dgm:presLayoutVars>
          <dgm:bulletEnabled val="1"/>
        </dgm:presLayoutVars>
      </dgm:prSet>
      <dgm:spPr/>
    </dgm:pt>
    <dgm:pt modelId="{2E025550-C1DC-1848-A624-0DB915D4A227}" type="pres">
      <dgm:prSet presAssocID="{E66A0C4C-9143-4290-947F-BA915FAFA303}" presName="FiveNodes_3" presStyleLbl="node1" presStyleIdx="2" presStyleCnt="5">
        <dgm:presLayoutVars>
          <dgm:bulletEnabled val="1"/>
        </dgm:presLayoutVars>
      </dgm:prSet>
      <dgm:spPr/>
    </dgm:pt>
    <dgm:pt modelId="{D1D6640F-E6F5-584A-B3AD-33D75EA3FE92}" type="pres">
      <dgm:prSet presAssocID="{E66A0C4C-9143-4290-947F-BA915FAFA303}" presName="FiveNodes_4" presStyleLbl="node1" presStyleIdx="3" presStyleCnt="5">
        <dgm:presLayoutVars>
          <dgm:bulletEnabled val="1"/>
        </dgm:presLayoutVars>
      </dgm:prSet>
      <dgm:spPr/>
    </dgm:pt>
    <dgm:pt modelId="{C909E841-5D05-DD4D-A55E-8A0400F70E00}" type="pres">
      <dgm:prSet presAssocID="{E66A0C4C-9143-4290-947F-BA915FAFA303}" presName="FiveNodes_5" presStyleLbl="node1" presStyleIdx="4" presStyleCnt="5">
        <dgm:presLayoutVars>
          <dgm:bulletEnabled val="1"/>
        </dgm:presLayoutVars>
      </dgm:prSet>
      <dgm:spPr/>
    </dgm:pt>
    <dgm:pt modelId="{9ABAFB27-DE6B-0949-8C1F-7E8806FA5FA3}" type="pres">
      <dgm:prSet presAssocID="{E66A0C4C-9143-4290-947F-BA915FAFA303}" presName="FiveConn_1-2" presStyleLbl="fgAccFollowNode1" presStyleIdx="0" presStyleCnt="4">
        <dgm:presLayoutVars>
          <dgm:bulletEnabled val="1"/>
        </dgm:presLayoutVars>
      </dgm:prSet>
      <dgm:spPr/>
    </dgm:pt>
    <dgm:pt modelId="{4C539919-74F4-AE4A-BC95-B3BD7BA31646}" type="pres">
      <dgm:prSet presAssocID="{E66A0C4C-9143-4290-947F-BA915FAFA303}" presName="FiveConn_2-3" presStyleLbl="fgAccFollowNode1" presStyleIdx="1" presStyleCnt="4">
        <dgm:presLayoutVars>
          <dgm:bulletEnabled val="1"/>
        </dgm:presLayoutVars>
      </dgm:prSet>
      <dgm:spPr/>
    </dgm:pt>
    <dgm:pt modelId="{3E1FBE14-3829-2B49-842B-E3DFE9881C87}" type="pres">
      <dgm:prSet presAssocID="{E66A0C4C-9143-4290-947F-BA915FAFA303}" presName="FiveConn_3-4" presStyleLbl="fgAccFollowNode1" presStyleIdx="2" presStyleCnt="4">
        <dgm:presLayoutVars>
          <dgm:bulletEnabled val="1"/>
        </dgm:presLayoutVars>
      </dgm:prSet>
      <dgm:spPr/>
    </dgm:pt>
    <dgm:pt modelId="{D1014043-DE2C-674B-A626-51EEFC789455}" type="pres">
      <dgm:prSet presAssocID="{E66A0C4C-9143-4290-947F-BA915FAFA303}" presName="FiveConn_4-5" presStyleLbl="fgAccFollowNode1" presStyleIdx="3" presStyleCnt="4">
        <dgm:presLayoutVars>
          <dgm:bulletEnabled val="1"/>
        </dgm:presLayoutVars>
      </dgm:prSet>
      <dgm:spPr/>
    </dgm:pt>
    <dgm:pt modelId="{2C9193E1-C28B-E94F-B0A5-110712889C9D}" type="pres">
      <dgm:prSet presAssocID="{E66A0C4C-9143-4290-947F-BA915FAFA303}" presName="FiveNodes_1_text" presStyleLbl="node1" presStyleIdx="4" presStyleCnt="5">
        <dgm:presLayoutVars>
          <dgm:bulletEnabled val="1"/>
        </dgm:presLayoutVars>
      </dgm:prSet>
      <dgm:spPr/>
    </dgm:pt>
    <dgm:pt modelId="{BBFE2B2A-FD34-AA40-9B62-1BD73E89411E}" type="pres">
      <dgm:prSet presAssocID="{E66A0C4C-9143-4290-947F-BA915FAFA303}" presName="FiveNodes_2_text" presStyleLbl="node1" presStyleIdx="4" presStyleCnt="5">
        <dgm:presLayoutVars>
          <dgm:bulletEnabled val="1"/>
        </dgm:presLayoutVars>
      </dgm:prSet>
      <dgm:spPr/>
    </dgm:pt>
    <dgm:pt modelId="{8A3596FE-5CD3-6546-B97F-0136981BDDE6}" type="pres">
      <dgm:prSet presAssocID="{E66A0C4C-9143-4290-947F-BA915FAFA303}" presName="FiveNodes_3_text" presStyleLbl="node1" presStyleIdx="4" presStyleCnt="5">
        <dgm:presLayoutVars>
          <dgm:bulletEnabled val="1"/>
        </dgm:presLayoutVars>
      </dgm:prSet>
      <dgm:spPr/>
    </dgm:pt>
    <dgm:pt modelId="{03078E84-173F-EC46-8328-68CC137F37CB}" type="pres">
      <dgm:prSet presAssocID="{E66A0C4C-9143-4290-947F-BA915FAFA303}" presName="FiveNodes_4_text" presStyleLbl="node1" presStyleIdx="4" presStyleCnt="5">
        <dgm:presLayoutVars>
          <dgm:bulletEnabled val="1"/>
        </dgm:presLayoutVars>
      </dgm:prSet>
      <dgm:spPr/>
    </dgm:pt>
    <dgm:pt modelId="{3E6D00DD-5304-1242-AAD5-2F076DBFE7E3}" type="pres">
      <dgm:prSet presAssocID="{E66A0C4C-9143-4290-947F-BA915FAFA303}" presName="FiveNodes_5_text" presStyleLbl="node1" presStyleIdx="4" presStyleCnt="5">
        <dgm:presLayoutVars>
          <dgm:bulletEnabled val="1"/>
        </dgm:presLayoutVars>
      </dgm:prSet>
      <dgm:spPr/>
    </dgm:pt>
  </dgm:ptLst>
  <dgm:cxnLst>
    <dgm:cxn modelId="{56646506-ECCC-3B4B-B4A2-54C1F56B9FD0}" type="presOf" srcId="{E4DA1715-3DEE-4512-BB58-1F5C1B6FC10A}" destId="{B1042EA6-826A-0042-BB30-B8942DE82D63}" srcOrd="0" destOrd="0" presId="urn:microsoft.com/office/officeart/2005/8/layout/vProcess5"/>
    <dgm:cxn modelId="{9CE5E506-4DE1-A043-88E8-962DF167FFF6}" srcId="{E66A0C4C-9143-4290-947F-BA915FAFA303}" destId="{E72DFAFC-A44E-BF4C-9E02-D88B47B882BD}" srcOrd="2" destOrd="0" parTransId="{73502589-B294-BA4D-B08D-1680C9770BF2}" sibTransId="{BEF56C54-05B6-4D4F-BA3D-6B074E1333B9}"/>
    <dgm:cxn modelId="{1F39CE10-D531-CF47-A203-8A908E056927}" type="presOf" srcId="{BEF56C54-05B6-4D4F-BA3D-6B074E1333B9}" destId="{3E1FBE14-3829-2B49-842B-E3DFE9881C87}" srcOrd="0" destOrd="0" presId="urn:microsoft.com/office/officeart/2005/8/layout/vProcess5"/>
    <dgm:cxn modelId="{B74A0E1B-20CE-CE41-BDA4-951B88F5BA8B}" type="presOf" srcId="{E72DFAFC-A44E-BF4C-9E02-D88B47B882BD}" destId="{8A3596FE-5CD3-6546-B97F-0136981BDDE6}" srcOrd="1" destOrd="0" presId="urn:microsoft.com/office/officeart/2005/8/layout/vProcess5"/>
    <dgm:cxn modelId="{A26CBA1C-B4C1-C444-A9B0-EE8178531FA6}" type="presOf" srcId="{66268810-1172-3F4A-89FC-AEFAB553E934}" destId="{D1014043-DE2C-674B-A626-51EEFC789455}" srcOrd="0" destOrd="0" presId="urn:microsoft.com/office/officeart/2005/8/layout/vProcess5"/>
    <dgm:cxn modelId="{E48F961F-C4EA-415D-990C-210F8E6E0C6A}" srcId="{E66A0C4C-9143-4290-947F-BA915FAFA303}" destId="{E4DA1715-3DEE-4512-BB58-1F5C1B6FC10A}" srcOrd="0" destOrd="0" parTransId="{DD0B345D-EC48-4C3C-A0DF-EF38B400B4A8}" sibTransId="{E1451F34-C386-46CD-A2EF-F50ACFA56350}"/>
    <dgm:cxn modelId="{40C8D827-C88F-E24D-B17A-1F1BB3F86FA3}" srcId="{E66A0C4C-9143-4290-947F-BA915FAFA303}" destId="{A9D2E5BB-298D-1A4D-A96A-6CE3A681972F}" srcOrd="4" destOrd="0" parTransId="{F11A9CC9-20F9-EB44-9524-9C657E15C972}" sibTransId="{C47E8BD8-B2CB-5E4C-8CA8-4DCDC2BEA2A9}"/>
    <dgm:cxn modelId="{A5D17E2E-CE40-2544-84EA-3237E6336E04}" type="presOf" srcId="{E72DFAFC-A44E-BF4C-9E02-D88B47B882BD}" destId="{2E025550-C1DC-1848-A624-0DB915D4A227}" srcOrd="0" destOrd="0" presId="urn:microsoft.com/office/officeart/2005/8/layout/vProcess5"/>
    <dgm:cxn modelId="{B8A8FD35-23DA-5C4F-85EA-11015065C59D}" type="presOf" srcId="{A9D2E5BB-298D-1A4D-A96A-6CE3A681972F}" destId="{C909E841-5D05-DD4D-A55E-8A0400F70E00}" srcOrd="0" destOrd="0" presId="urn:microsoft.com/office/officeart/2005/8/layout/vProcess5"/>
    <dgm:cxn modelId="{EC3EFF3A-E91F-2B45-AC4C-18068498EAE4}" srcId="{E66A0C4C-9143-4290-947F-BA915FAFA303}" destId="{0E296B76-A400-1743-8460-10EEA80F341B}" srcOrd="1" destOrd="0" parTransId="{2EB7533A-37C1-7B42-B342-C0C2BDF86E11}" sibTransId="{D2DF3682-69A2-1B4A-A0F7-AA7C1A069D11}"/>
    <dgm:cxn modelId="{15447A3E-AFEB-1D4D-8407-6BE7C02DAA5B}" srcId="{E66A0C4C-9143-4290-947F-BA915FAFA303}" destId="{8B6045FF-36A2-5E44-A386-0D8FBCD779FF}" srcOrd="3" destOrd="0" parTransId="{4E43E5C5-DB01-DA40-BF8C-A9BEA03BD06B}" sibTransId="{66268810-1172-3F4A-89FC-AEFAB553E934}"/>
    <dgm:cxn modelId="{C3A9B54C-DDDA-A04F-9397-B0BBDF90A486}" type="presOf" srcId="{8B6045FF-36A2-5E44-A386-0D8FBCD779FF}" destId="{03078E84-173F-EC46-8328-68CC137F37CB}" srcOrd="1" destOrd="0" presId="urn:microsoft.com/office/officeart/2005/8/layout/vProcess5"/>
    <dgm:cxn modelId="{D283E650-BD1C-994B-8990-12793F3EE2CD}" type="presOf" srcId="{E4DA1715-3DEE-4512-BB58-1F5C1B6FC10A}" destId="{2C9193E1-C28B-E94F-B0A5-110712889C9D}" srcOrd="1" destOrd="0" presId="urn:microsoft.com/office/officeart/2005/8/layout/vProcess5"/>
    <dgm:cxn modelId="{C6016582-32E0-6048-B0E3-439B908A3FF4}" type="presOf" srcId="{8B6045FF-36A2-5E44-A386-0D8FBCD779FF}" destId="{D1D6640F-E6F5-584A-B3AD-33D75EA3FE92}" srcOrd="0" destOrd="0" presId="urn:microsoft.com/office/officeart/2005/8/layout/vProcess5"/>
    <dgm:cxn modelId="{682B02A6-5115-B948-B87D-B04D42EBF6C0}" type="presOf" srcId="{A9D2E5BB-298D-1A4D-A96A-6CE3A681972F}" destId="{3E6D00DD-5304-1242-AAD5-2F076DBFE7E3}" srcOrd="1" destOrd="0" presId="urn:microsoft.com/office/officeart/2005/8/layout/vProcess5"/>
    <dgm:cxn modelId="{E351A3AF-1C2E-2044-BB59-FC17CF56AF4D}" type="presOf" srcId="{0E296B76-A400-1743-8460-10EEA80F341B}" destId="{F5F5369F-46C7-724A-904E-C71D1EE13915}" srcOrd="0" destOrd="0" presId="urn:microsoft.com/office/officeart/2005/8/layout/vProcess5"/>
    <dgm:cxn modelId="{8CFBE4B8-277C-2647-931D-351ECCCA4C2E}" type="presOf" srcId="{0E296B76-A400-1743-8460-10EEA80F341B}" destId="{BBFE2B2A-FD34-AA40-9B62-1BD73E89411E}" srcOrd="1" destOrd="0" presId="urn:microsoft.com/office/officeart/2005/8/layout/vProcess5"/>
    <dgm:cxn modelId="{531313BE-9EC9-5147-98C9-44BD6252FDBB}" type="presOf" srcId="{E66A0C4C-9143-4290-947F-BA915FAFA303}" destId="{7D40382F-247A-E54E-AC76-751136B8EF2C}" srcOrd="0" destOrd="0" presId="urn:microsoft.com/office/officeart/2005/8/layout/vProcess5"/>
    <dgm:cxn modelId="{33AF73C2-B0B6-2648-AF1B-1D93702ED2C6}" type="presOf" srcId="{D2DF3682-69A2-1B4A-A0F7-AA7C1A069D11}" destId="{4C539919-74F4-AE4A-BC95-B3BD7BA31646}" srcOrd="0" destOrd="0" presId="urn:microsoft.com/office/officeart/2005/8/layout/vProcess5"/>
    <dgm:cxn modelId="{690F21D3-D66E-1348-AD07-32283EE9D131}" type="presOf" srcId="{E1451F34-C386-46CD-A2EF-F50ACFA56350}" destId="{9ABAFB27-DE6B-0949-8C1F-7E8806FA5FA3}" srcOrd="0" destOrd="0" presId="urn:microsoft.com/office/officeart/2005/8/layout/vProcess5"/>
    <dgm:cxn modelId="{6FD66AB0-2E7E-264D-AF30-B812BAC5BA1B}" type="presParOf" srcId="{7D40382F-247A-E54E-AC76-751136B8EF2C}" destId="{303E9C03-1F3D-D642-95A4-C8BF10AE51BC}" srcOrd="0" destOrd="0" presId="urn:microsoft.com/office/officeart/2005/8/layout/vProcess5"/>
    <dgm:cxn modelId="{D1634DEB-795C-C340-8FDC-93AE0DFEB165}" type="presParOf" srcId="{7D40382F-247A-E54E-AC76-751136B8EF2C}" destId="{B1042EA6-826A-0042-BB30-B8942DE82D63}" srcOrd="1" destOrd="0" presId="urn:microsoft.com/office/officeart/2005/8/layout/vProcess5"/>
    <dgm:cxn modelId="{D4EBB5AD-C727-5246-ADBB-F08712891A68}" type="presParOf" srcId="{7D40382F-247A-E54E-AC76-751136B8EF2C}" destId="{F5F5369F-46C7-724A-904E-C71D1EE13915}" srcOrd="2" destOrd="0" presId="urn:microsoft.com/office/officeart/2005/8/layout/vProcess5"/>
    <dgm:cxn modelId="{7E6EFB25-899F-7147-93D8-DFCEAA058D19}" type="presParOf" srcId="{7D40382F-247A-E54E-AC76-751136B8EF2C}" destId="{2E025550-C1DC-1848-A624-0DB915D4A227}" srcOrd="3" destOrd="0" presId="urn:microsoft.com/office/officeart/2005/8/layout/vProcess5"/>
    <dgm:cxn modelId="{F992E1F1-6F0A-744C-9F3E-84999867CC4E}" type="presParOf" srcId="{7D40382F-247A-E54E-AC76-751136B8EF2C}" destId="{D1D6640F-E6F5-584A-B3AD-33D75EA3FE92}" srcOrd="4" destOrd="0" presId="urn:microsoft.com/office/officeart/2005/8/layout/vProcess5"/>
    <dgm:cxn modelId="{D529A1BB-B7EA-7D41-8264-131E034925E2}" type="presParOf" srcId="{7D40382F-247A-E54E-AC76-751136B8EF2C}" destId="{C909E841-5D05-DD4D-A55E-8A0400F70E00}" srcOrd="5" destOrd="0" presId="urn:microsoft.com/office/officeart/2005/8/layout/vProcess5"/>
    <dgm:cxn modelId="{43AE2D50-2928-0048-9E8C-2777C7B75360}" type="presParOf" srcId="{7D40382F-247A-E54E-AC76-751136B8EF2C}" destId="{9ABAFB27-DE6B-0949-8C1F-7E8806FA5FA3}" srcOrd="6" destOrd="0" presId="urn:microsoft.com/office/officeart/2005/8/layout/vProcess5"/>
    <dgm:cxn modelId="{191A384B-38EC-CF43-9EEE-551F9A5274DC}" type="presParOf" srcId="{7D40382F-247A-E54E-AC76-751136B8EF2C}" destId="{4C539919-74F4-AE4A-BC95-B3BD7BA31646}" srcOrd="7" destOrd="0" presId="urn:microsoft.com/office/officeart/2005/8/layout/vProcess5"/>
    <dgm:cxn modelId="{FA149AF4-03BD-8849-8839-9C4A73D47B4D}" type="presParOf" srcId="{7D40382F-247A-E54E-AC76-751136B8EF2C}" destId="{3E1FBE14-3829-2B49-842B-E3DFE9881C87}" srcOrd="8" destOrd="0" presId="urn:microsoft.com/office/officeart/2005/8/layout/vProcess5"/>
    <dgm:cxn modelId="{7C74011F-D917-B24A-AFFF-C208CCC1404E}" type="presParOf" srcId="{7D40382F-247A-E54E-AC76-751136B8EF2C}" destId="{D1014043-DE2C-674B-A626-51EEFC789455}" srcOrd="9" destOrd="0" presId="urn:microsoft.com/office/officeart/2005/8/layout/vProcess5"/>
    <dgm:cxn modelId="{B14609E1-88BB-2349-8E33-76D9DF68A05F}" type="presParOf" srcId="{7D40382F-247A-E54E-AC76-751136B8EF2C}" destId="{2C9193E1-C28B-E94F-B0A5-110712889C9D}" srcOrd="10" destOrd="0" presId="urn:microsoft.com/office/officeart/2005/8/layout/vProcess5"/>
    <dgm:cxn modelId="{849F0A41-EAC2-4248-9255-A639F4B2ADA4}" type="presParOf" srcId="{7D40382F-247A-E54E-AC76-751136B8EF2C}" destId="{BBFE2B2A-FD34-AA40-9B62-1BD73E89411E}" srcOrd="11" destOrd="0" presId="urn:microsoft.com/office/officeart/2005/8/layout/vProcess5"/>
    <dgm:cxn modelId="{2FF3B2B1-5B0D-C948-9FC4-82E4C772A8A5}" type="presParOf" srcId="{7D40382F-247A-E54E-AC76-751136B8EF2C}" destId="{8A3596FE-5CD3-6546-B97F-0136981BDDE6}" srcOrd="12" destOrd="0" presId="urn:microsoft.com/office/officeart/2005/8/layout/vProcess5"/>
    <dgm:cxn modelId="{F8F8291D-CBC3-4D4D-A86D-83AD90345E6C}" type="presParOf" srcId="{7D40382F-247A-E54E-AC76-751136B8EF2C}" destId="{03078E84-173F-EC46-8328-68CC137F37CB}" srcOrd="13" destOrd="0" presId="urn:microsoft.com/office/officeart/2005/8/layout/vProcess5"/>
    <dgm:cxn modelId="{686AD357-315E-1C41-949B-FEFC47FAD59F}" type="presParOf" srcId="{7D40382F-247A-E54E-AC76-751136B8EF2C}" destId="{3E6D00DD-5304-1242-AAD5-2F076DBFE7E3}"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501DE1-DFED-46B6-AADE-1DB858EDEEF1}"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6CE1B494-AAC3-40D0-8CDC-63A34F6C87A5}">
      <dgm:prSet/>
      <dgm:spPr/>
      <dgm:t>
        <a:bodyPr/>
        <a:lstStyle/>
        <a:p>
          <a:r>
            <a:rPr lang="en-US"/>
            <a:t>Applied Behavior Analysis (ABA) studies why behaviors occur and how to teach meaningful new skills.</a:t>
          </a:r>
        </a:p>
      </dgm:t>
    </dgm:pt>
    <dgm:pt modelId="{BF2C8744-E413-490B-9FE2-D6E6BF6FE92C}" type="parTrans" cxnId="{770CA030-F25C-4D05-8E88-F4FAA7AD7171}">
      <dgm:prSet/>
      <dgm:spPr/>
      <dgm:t>
        <a:bodyPr/>
        <a:lstStyle/>
        <a:p>
          <a:endParaRPr lang="en-US"/>
        </a:p>
      </dgm:t>
    </dgm:pt>
    <dgm:pt modelId="{700B4AEC-9185-4C92-BDF2-2654043ADA58}" type="sibTrans" cxnId="{770CA030-F25C-4D05-8E88-F4FAA7AD7171}">
      <dgm:prSet/>
      <dgm:spPr/>
      <dgm:t>
        <a:bodyPr/>
        <a:lstStyle/>
        <a:p>
          <a:endParaRPr lang="en-US"/>
        </a:p>
      </dgm:t>
    </dgm:pt>
    <dgm:pt modelId="{96065B92-1019-4B2D-948E-E7F25EA4CE06}">
      <dgm:prSet/>
      <dgm:spPr/>
      <dgm:t>
        <a:bodyPr/>
        <a:lstStyle/>
        <a:p>
          <a:r>
            <a:rPr lang="en-US"/>
            <a:t>• ABA is data-driven and highly individualized.</a:t>
          </a:r>
        </a:p>
      </dgm:t>
    </dgm:pt>
    <dgm:pt modelId="{F4AE0422-72D3-455F-8AE3-14737D344F0E}" type="parTrans" cxnId="{4FF7712C-6EA2-49CB-B1C1-7F23035D96B6}">
      <dgm:prSet/>
      <dgm:spPr/>
      <dgm:t>
        <a:bodyPr/>
        <a:lstStyle/>
        <a:p>
          <a:endParaRPr lang="en-US"/>
        </a:p>
      </dgm:t>
    </dgm:pt>
    <dgm:pt modelId="{204F1CBB-8627-424D-93E9-15153BF443C8}" type="sibTrans" cxnId="{4FF7712C-6EA2-49CB-B1C1-7F23035D96B6}">
      <dgm:prSet/>
      <dgm:spPr/>
      <dgm:t>
        <a:bodyPr/>
        <a:lstStyle/>
        <a:p>
          <a:endParaRPr lang="en-US"/>
        </a:p>
      </dgm:t>
    </dgm:pt>
    <dgm:pt modelId="{81BCE71E-25E4-4D28-BA03-AE52DE304F20}">
      <dgm:prSet/>
      <dgm:spPr/>
      <dgm:t>
        <a:bodyPr/>
        <a:lstStyle/>
        <a:p>
          <a:r>
            <a:rPr lang="en-US"/>
            <a:t>• In communication, ABA focuses on the function of speech — why a child communicates (requesting, refusing, gaining attention, etc.).</a:t>
          </a:r>
        </a:p>
      </dgm:t>
    </dgm:pt>
    <dgm:pt modelId="{19359650-AAE3-4AAC-87E9-0EFBFA78BC65}" type="parTrans" cxnId="{86379D92-48B5-489A-96B3-F3E682EAE730}">
      <dgm:prSet/>
      <dgm:spPr/>
      <dgm:t>
        <a:bodyPr/>
        <a:lstStyle/>
        <a:p>
          <a:endParaRPr lang="en-US"/>
        </a:p>
      </dgm:t>
    </dgm:pt>
    <dgm:pt modelId="{3542E123-D5A1-444A-A95D-E26726485830}" type="sibTrans" cxnId="{86379D92-48B5-489A-96B3-F3E682EAE730}">
      <dgm:prSet/>
      <dgm:spPr/>
      <dgm:t>
        <a:bodyPr/>
        <a:lstStyle/>
        <a:p>
          <a:endParaRPr lang="en-US"/>
        </a:p>
      </dgm:t>
    </dgm:pt>
    <dgm:pt modelId="{47EA0017-816F-4C37-AE8E-C61F35D074FE}">
      <dgm:prSet/>
      <dgm:spPr/>
      <dgm:t>
        <a:bodyPr/>
        <a:lstStyle/>
        <a:p>
          <a:r>
            <a:rPr lang="en-US"/>
            <a:t>• Collaboration between ABA and Speech ensures both motivation (the WHY) and skill (the HOW) are supported.</a:t>
          </a:r>
        </a:p>
      </dgm:t>
    </dgm:pt>
    <dgm:pt modelId="{7E8A56E7-347A-4F04-8D69-6866375F407D}" type="parTrans" cxnId="{86E7C11B-55EB-43D5-B4BD-5CF9D0AC66BF}">
      <dgm:prSet/>
      <dgm:spPr/>
      <dgm:t>
        <a:bodyPr/>
        <a:lstStyle/>
        <a:p>
          <a:endParaRPr lang="en-US"/>
        </a:p>
      </dgm:t>
    </dgm:pt>
    <dgm:pt modelId="{A271CED9-DB28-4844-99BD-15FE1911C1FE}" type="sibTrans" cxnId="{86E7C11B-55EB-43D5-B4BD-5CF9D0AC66BF}">
      <dgm:prSet/>
      <dgm:spPr/>
      <dgm:t>
        <a:bodyPr/>
        <a:lstStyle/>
        <a:p>
          <a:endParaRPr lang="en-US"/>
        </a:p>
      </dgm:t>
    </dgm:pt>
    <dgm:pt modelId="{FA857733-7A50-EB4E-B24A-57B16DE270E9}" type="pres">
      <dgm:prSet presAssocID="{26501DE1-DFED-46B6-AADE-1DB858EDEEF1}" presName="linear" presStyleCnt="0">
        <dgm:presLayoutVars>
          <dgm:animLvl val="lvl"/>
          <dgm:resizeHandles val="exact"/>
        </dgm:presLayoutVars>
      </dgm:prSet>
      <dgm:spPr/>
    </dgm:pt>
    <dgm:pt modelId="{E5FF6DD9-E1C1-0E4F-BF48-7125DEB57D23}" type="pres">
      <dgm:prSet presAssocID="{6CE1B494-AAC3-40D0-8CDC-63A34F6C87A5}" presName="parentText" presStyleLbl="node1" presStyleIdx="0" presStyleCnt="4">
        <dgm:presLayoutVars>
          <dgm:chMax val="0"/>
          <dgm:bulletEnabled val="1"/>
        </dgm:presLayoutVars>
      </dgm:prSet>
      <dgm:spPr/>
    </dgm:pt>
    <dgm:pt modelId="{F472BE06-E865-EF41-A29B-4BEE66C5DAB1}" type="pres">
      <dgm:prSet presAssocID="{700B4AEC-9185-4C92-BDF2-2654043ADA58}" presName="spacer" presStyleCnt="0"/>
      <dgm:spPr/>
    </dgm:pt>
    <dgm:pt modelId="{7B8A2BEC-FF9E-7F40-BC37-BDD892F085B1}" type="pres">
      <dgm:prSet presAssocID="{96065B92-1019-4B2D-948E-E7F25EA4CE06}" presName="parentText" presStyleLbl="node1" presStyleIdx="1" presStyleCnt="4">
        <dgm:presLayoutVars>
          <dgm:chMax val="0"/>
          <dgm:bulletEnabled val="1"/>
        </dgm:presLayoutVars>
      </dgm:prSet>
      <dgm:spPr/>
    </dgm:pt>
    <dgm:pt modelId="{FC226BD0-CC33-8647-B772-004815BAB06B}" type="pres">
      <dgm:prSet presAssocID="{204F1CBB-8627-424D-93E9-15153BF443C8}" presName="spacer" presStyleCnt="0"/>
      <dgm:spPr/>
    </dgm:pt>
    <dgm:pt modelId="{42695616-BFDE-AF46-8150-72441E7B19C3}" type="pres">
      <dgm:prSet presAssocID="{81BCE71E-25E4-4D28-BA03-AE52DE304F20}" presName="parentText" presStyleLbl="node1" presStyleIdx="2" presStyleCnt="4">
        <dgm:presLayoutVars>
          <dgm:chMax val="0"/>
          <dgm:bulletEnabled val="1"/>
        </dgm:presLayoutVars>
      </dgm:prSet>
      <dgm:spPr/>
    </dgm:pt>
    <dgm:pt modelId="{098223AA-D6AA-C44C-B8C2-6154948F6468}" type="pres">
      <dgm:prSet presAssocID="{3542E123-D5A1-444A-A95D-E26726485830}" presName="spacer" presStyleCnt="0"/>
      <dgm:spPr/>
    </dgm:pt>
    <dgm:pt modelId="{DCC3C9EA-9D2A-034D-B522-4FFC85D26973}" type="pres">
      <dgm:prSet presAssocID="{47EA0017-816F-4C37-AE8E-C61F35D074FE}" presName="parentText" presStyleLbl="node1" presStyleIdx="3" presStyleCnt="4">
        <dgm:presLayoutVars>
          <dgm:chMax val="0"/>
          <dgm:bulletEnabled val="1"/>
        </dgm:presLayoutVars>
      </dgm:prSet>
      <dgm:spPr/>
    </dgm:pt>
  </dgm:ptLst>
  <dgm:cxnLst>
    <dgm:cxn modelId="{B5622612-6AE7-724B-9FFB-4E480EE3AD80}" type="presOf" srcId="{96065B92-1019-4B2D-948E-E7F25EA4CE06}" destId="{7B8A2BEC-FF9E-7F40-BC37-BDD892F085B1}" srcOrd="0" destOrd="0" presId="urn:microsoft.com/office/officeart/2005/8/layout/vList2"/>
    <dgm:cxn modelId="{86E7C11B-55EB-43D5-B4BD-5CF9D0AC66BF}" srcId="{26501DE1-DFED-46B6-AADE-1DB858EDEEF1}" destId="{47EA0017-816F-4C37-AE8E-C61F35D074FE}" srcOrd="3" destOrd="0" parTransId="{7E8A56E7-347A-4F04-8D69-6866375F407D}" sibTransId="{A271CED9-DB28-4844-99BD-15FE1911C1FE}"/>
    <dgm:cxn modelId="{4FF7712C-6EA2-49CB-B1C1-7F23035D96B6}" srcId="{26501DE1-DFED-46B6-AADE-1DB858EDEEF1}" destId="{96065B92-1019-4B2D-948E-E7F25EA4CE06}" srcOrd="1" destOrd="0" parTransId="{F4AE0422-72D3-455F-8AE3-14737D344F0E}" sibTransId="{204F1CBB-8627-424D-93E9-15153BF443C8}"/>
    <dgm:cxn modelId="{770CA030-F25C-4D05-8E88-F4FAA7AD7171}" srcId="{26501DE1-DFED-46B6-AADE-1DB858EDEEF1}" destId="{6CE1B494-AAC3-40D0-8CDC-63A34F6C87A5}" srcOrd="0" destOrd="0" parTransId="{BF2C8744-E413-490B-9FE2-D6E6BF6FE92C}" sibTransId="{700B4AEC-9185-4C92-BDF2-2654043ADA58}"/>
    <dgm:cxn modelId="{B31FC955-63B4-6F48-A7EA-E1E4CBD6BBA9}" type="presOf" srcId="{6CE1B494-AAC3-40D0-8CDC-63A34F6C87A5}" destId="{E5FF6DD9-E1C1-0E4F-BF48-7125DEB57D23}" srcOrd="0" destOrd="0" presId="urn:microsoft.com/office/officeart/2005/8/layout/vList2"/>
    <dgm:cxn modelId="{099D8786-9812-D742-860A-579E8A2207D9}" type="presOf" srcId="{47EA0017-816F-4C37-AE8E-C61F35D074FE}" destId="{DCC3C9EA-9D2A-034D-B522-4FFC85D26973}" srcOrd="0" destOrd="0" presId="urn:microsoft.com/office/officeart/2005/8/layout/vList2"/>
    <dgm:cxn modelId="{86379D92-48B5-489A-96B3-F3E682EAE730}" srcId="{26501DE1-DFED-46B6-AADE-1DB858EDEEF1}" destId="{81BCE71E-25E4-4D28-BA03-AE52DE304F20}" srcOrd="2" destOrd="0" parTransId="{19359650-AAE3-4AAC-87E9-0EFBFA78BC65}" sibTransId="{3542E123-D5A1-444A-A95D-E26726485830}"/>
    <dgm:cxn modelId="{2326F99F-2C05-8448-9A01-EAA3268541C3}" type="presOf" srcId="{81BCE71E-25E4-4D28-BA03-AE52DE304F20}" destId="{42695616-BFDE-AF46-8150-72441E7B19C3}" srcOrd="0" destOrd="0" presId="urn:microsoft.com/office/officeart/2005/8/layout/vList2"/>
    <dgm:cxn modelId="{61CBF5BF-549E-6840-88BC-7DF62B5C0DC2}" type="presOf" srcId="{26501DE1-DFED-46B6-AADE-1DB858EDEEF1}" destId="{FA857733-7A50-EB4E-B24A-57B16DE270E9}" srcOrd="0" destOrd="0" presId="urn:microsoft.com/office/officeart/2005/8/layout/vList2"/>
    <dgm:cxn modelId="{497DBAF9-1854-9543-96B7-24C49FE62916}" type="presParOf" srcId="{FA857733-7A50-EB4E-B24A-57B16DE270E9}" destId="{E5FF6DD9-E1C1-0E4F-BF48-7125DEB57D23}" srcOrd="0" destOrd="0" presId="urn:microsoft.com/office/officeart/2005/8/layout/vList2"/>
    <dgm:cxn modelId="{814BFC61-46E0-DC47-A6EF-67814099F934}" type="presParOf" srcId="{FA857733-7A50-EB4E-B24A-57B16DE270E9}" destId="{F472BE06-E865-EF41-A29B-4BEE66C5DAB1}" srcOrd="1" destOrd="0" presId="urn:microsoft.com/office/officeart/2005/8/layout/vList2"/>
    <dgm:cxn modelId="{C87E35B0-6CA6-4543-A416-C186E9F9CFC4}" type="presParOf" srcId="{FA857733-7A50-EB4E-B24A-57B16DE270E9}" destId="{7B8A2BEC-FF9E-7F40-BC37-BDD892F085B1}" srcOrd="2" destOrd="0" presId="urn:microsoft.com/office/officeart/2005/8/layout/vList2"/>
    <dgm:cxn modelId="{D1881944-00ED-6D47-96E8-FA90ECC37EED}" type="presParOf" srcId="{FA857733-7A50-EB4E-B24A-57B16DE270E9}" destId="{FC226BD0-CC33-8647-B772-004815BAB06B}" srcOrd="3" destOrd="0" presId="urn:microsoft.com/office/officeart/2005/8/layout/vList2"/>
    <dgm:cxn modelId="{8A010611-6A66-4144-85DE-A0410C0A7030}" type="presParOf" srcId="{FA857733-7A50-EB4E-B24A-57B16DE270E9}" destId="{42695616-BFDE-AF46-8150-72441E7B19C3}" srcOrd="4" destOrd="0" presId="urn:microsoft.com/office/officeart/2005/8/layout/vList2"/>
    <dgm:cxn modelId="{19225877-424D-194F-9D5A-2EC8B2C99D96}" type="presParOf" srcId="{FA857733-7A50-EB4E-B24A-57B16DE270E9}" destId="{098223AA-D6AA-C44C-B8C2-6154948F6468}" srcOrd="5" destOrd="0" presId="urn:microsoft.com/office/officeart/2005/8/layout/vList2"/>
    <dgm:cxn modelId="{2D4E4315-31F4-294E-B893-836CD27B10B6}" type="presParOf" srcId="{FA857733-7A50-EB4E-B24A-57B16DE270E9}" destId="{DCC3C9EA-9D2A-034D-B522-4FFC85D26973}"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4941EF1-D997-410C-9106-6EBFF98658E0}" type="doc">
      <dgm:prSet loTypeId="urn:microsoft.com/office/officeart/2005/8/layout/default" loCatId="list" qsTypeId="urn:microsoft.com/office/officeart/2005/8/quickstyle/simple4" qsCatId="simple" csTypeId="urn:microsoft.com/office/officeart/2005/8/colors/colorful2" csCatId="colorful"/>
      <dgm:spPr/>
      <dgm:t>
        <a:bodyPr/>
        <a:lstStyle/>
        <a:p>
          <a:endParaRPr lang="en-US"/>
        </a:p>
      </dgm:t>
    </dgm:pt>
    <dgm:pt modelId="{7544E755-64B6-4CA4-9771-066159743179}">
      <dgm:prSet/>
      <dgm:spPr/>
      <dgm:t>
        <a:bodyPr/>
        <a:lstStyle/>
        <a:p>
          <a:r>
            <a:rPr lang="en-US"/>
            <a:t>Behavior is learned and can be changed</a:t>
          </a:r>
        </a:p>
      </dgm:t>
    </dgm:pt>
    <dgm:pt modelId="{A6D00EB6-1C0D-41C4-9F64-BDAE9A1DBFDD}" type="parTrans" cxnId="{D1EFC4E1-5B8C-4B6D-937E-74346D1BAD2E}">
      <dgm:prSet/>
      <dgm:spPr/>
      <dgm:t>
        <a:bodyPr/>
        <a:lstStyle/>
        <a:p>
          <a:endParaRPr lang="en-US"/>
        </a:p>
      </dgm:t>
    </dgm:pt>
    <dgm:pt modelId="{3FE3FEDD-07D6-456D-AF6B-B300E7CE05F1}" type="sibTrans" cxnId="{D1EFC4E1-5B8C-4B6D-937E-74346D1BAD2E}">
      <dgm:prSet/>
      <dgm:spPr/>
      <dgm:t>
        <a:bodyPr/>
        <a:lstStyle/>
        <a:p>
          <a:endParaRPr lang="en-US"/>
        </a:p>
      </dgm:t>
    </dgm:pt>
    <dgm:pt modelId="{278CEC9C-D9D8-4B1D-8BCC-1A48E648C4FD}">
      <dgm:prSet/>
      <dgm:spPr/>
      <dgm:t>
        <a:bodyPr/>
        <a:lstStyle/>
        <a:p>
          <a:r>
            <a:rPr lang="en-US"/>
            <a:t>Focus on measurable behaviors</a:t>
          </a:r>
        </a:p>
      </dgm:t>
    </dgm:pt>
    <dgm:pt modelId="{640650D0-F551-4DEE-B372-8F0A5C6A6F30}" type="parTrans" cxnId="{764E3C23-560B-4301-A0ED-F7E1FCCE89A4}">
      <dgm:prSet/>
      <dgm:spPr/>
      <dgm:t>
        <a:bodyPr/>
        <a:lstStyle/>
        <a:p>
          <a:endParaRPr lang="en-US"/>
        </a:p>
      </dgm:t>
    </dgm:pt>
    <dgm:pt modelId="{6C5A4C59-F139-43F0-9541-F70AF74B0B2E}" type="sibTrans" cxnId="{764E3C23-560B-4301-A0ED-F7E1FCCE89A4}">
      <dgm:prSet/>
      <dgm:spPr/>
      <dgm:t>
        <a:bodyPr/>
        <a:lstStyle/>
        <a:p>
          <a:endParaRPr lang="en-US"/>
        </a:p>
      </dgm:t>
    </dgm:pt>
    <dgm:pt modelId="{E84C2D47-D58A-47EE-893C-21B78CFAD936}">
      <dgm:prSet/>
      <dgm:spPr/>
      <dgm:t>
        <a:bodyPr/>
        <a:lstStyle/>
        <a:p>
          <a:r>
            <a:rPr lang="en-US"/>
            <a:t>Use of data-driven decisions</a:t>
          </a:r>
        </a:p>
      </dgm:t>
    </dgm:pt>
    <dgm:pt modelId="{46DBD264-D3C2-42D5-A5D7-D8599772C861}" type="parTrans" cxnId="{F7B92C02-FD92-4625-BDD6-7240DE630D23}">
      <dgm:prSet/>
      <dgm:spPr/>
      <dgm:t>
        <a:bodyPr/>
        <a:lstStyle/>
        <a:p>
          <a:endParaRPr lang="en-US"/>
        </a:p>
      </dgm:t>
    </dgm:pt>
    <dgm:pt modelId="{80B68F70-78F9-422E-B8E0-7FCC17D73811}" type="sibTrans" cxnId="{F7B92C02-FD92-4625-BDD6-7240DE630D23}">
      <dgm:prSet/>
      <dgm:spPr/>
      <dgm:t>
        <a:bodyPr/>
        <a:lstStyle/>
        <a:p>
          <a:endParaRPr lang="en-US"/>
        </a:p>
      </dgm:t>
    </dgm:pt>
    <dgm:pt modelId="{67B0A165-6913-4CF8-A7AB-9D1380857488}">
      <dgm:prSet/>
      <dgm:spPr/>
      <dgm:t>
        <a:bodyPr/>
        <a:lstStyle/>
        <a:p>
          <a:r>
            <a:rPr lang="en-US"/>
            <a:t>Individualized programs</a:t>
          </a:r>
        </a:p>
      </dgm:t>
    </dgm:pt>
    <dgm:pt modelId="{37F6E400-753F-4476-A2DB-2E47DD4B4168}" type="parTrans" cxnId="{1EA97414-71CE-49D3-816D-F87F5DCAED45}">
      <dgm:prSet/>
      <dgm:spPr/>
      <dgm:t>
        <a:bodyPr/>
        <a:lstStyle/>
        <a:p>
          <a:endParaRPr lang="en-US"/>
        </a:p>
      </dgm:t>
    </dgm:pt>
    <dgm:pt modelId="{725F6117-FE93-4E01-8D6F-0A6E6A784756}" type="sibTrans" cxnId="{1EA97414-71CE-49D3-816D-F87F5DCAED45}">
      <dgm:prSet/>
      <dgm:spPr/>
      <dgm:t>
        <a:bodyPr/>
        <a:lstStyle/>
        <a:p>
          <a:endParaRPr lang="en-US"/>
        </a:p>
      </dgm:t>
    </dgm:pt>
    <dgm:pt modelId="{E1774B7B-613C-4A4C-AAE9-8AAFE5049EB1}">
      <dgm:prSet/>
      <dgm:spPr/>
      <dgm:t>
        <a:bodyPr/>
        <a:lstStyle/>
        <a:p>
          <a:r>
            <a:rPr lang="en-US"/>
            <a:t>Reinforcement is key</a:t>
          </a:r>
        </a:p>
      </dgm:t>
    </dgm:pt>
    <dgm:pt modelId="{045C6CFC-8CA3-4782-882B-AEC21CAA5CB0}" type="parTrans" cxnId="{01F83153-97AE-4A47-96DA-7182C993A91A}">
      <dgm:prSet/>
      <dgm:spPr/>
      <dgm:t>
        <a:bodyPr/>
        <a:lstStyle/>
        <a:p>
          <a:endParaRPr lang="en-US"/>
        </a:p>
      </dgm:t>
    </dgm:pt>
    <dgm:pt modelId="{3F13770F-8D4C-454C-95EB-D1C0CCA405AF}" type="sibTrans" cxnId="{01F83153-97AE-4A47-96DA-7182C993A91A}">
      <dgm:prSet/>
      <dgm:spPr/>
      <dgm:t>
        <a:bodyPr/>
        <a:lstStyle/>
        <a:p>
          <a:endParaRPr lang="en-US"/>
        </a:p>
      </dgm:t>
    </dgm:pt>
    <dgm:pt modelId="{78E3D98F-2DA7-B842-A152-00AD40DAA3AF}" type="pres">
      <dgm:prSet presAssocID="{F4941EF1-D997-410C-9106-6EBFF98658E0}" presName="diagram" presStyleCnt="0">
        <dgm:presLayoutVars>
          <dgm:dir/>
          <dgm:resizeHandles val="exact"/>
        </dgm:presLayoutVars>
      </dgm:prSet>
      <dgm:spPr/>
    </dgm:pt>
    <dgm:pt modelId="{AEF3C99F-9C53-C941-9F93-DC1D920FEA51}" type="pres">
      <dgm:prSet presAssocID="{7544E755-64B6-4CA4-9771-066159743179}" presName="node" presStyleLbl="node1" presStyleIdx="0" presStyleCnt="5">
        <dgm:presLayoutVars>
          <dgm:bulletEnabled val="1"/>
        </dgm:presLayoutVars>
      </dgm:prSet>
      <dgm:spPr/>
    </dgm:pt>
    <dgm:pt modelId="{FFF5D7DE-F124-CB47-8F13-D74DBAB5C61D}" type="pres">
      <dgm:prSet presAssocID="{3FE3FEDD-07D6-456D-AF6B-B300E7CE05F1}" presName="sibTrans" presStyleCnt="0"/>
      <dgm:spPr/>
    </dgm:pt>
    <dgm:pt modelId="{757B6A4C-B1AE-AF4E-AF67-EB9DBE4282DC}" type="pres">
      <dgm:prSet presAssocID="{278CEC9C-D9D8-4B1D-8BCC-1A48E648C4FD}" presName="node" presStyleLbl="node1" presStyleIdx="1" presStyleCnt="5">
        <dgm:presLayoutVars>
          <dgm:bulletEnabled val="1"/>
        </dgm:presLayoutVars>
      </dgm:prSet>
      <dgm:spPr/>
    </dgm:pt>
    <dgm:pt modelId="{443B1C50-F5C9-DD46-A8F8-3FDA2BD9CBFA}" type="pres">
      <dgm:prSet presAssocID="{6C5A4C59-F139-43F0-9541-F70AF74B0B2E}" presName="sibTrans" presStyleCnt="0"/>
      <dgm:spPr/>
    </dgm:pt>
    <dgm:pt modelId="{8F78DA7F-6051-C94A-98DE-6B8C1C97E876}" type="pres">
      <dgm:prSet presAssocID="{E84C2D47-D58A-47EE-893C-21B78CFAD936}" presName="node" presStyleLbl="node1" presStyleIdx="2" presStyleCnt="5">
        <dgm:presLayoutVars>
          <dgm:bulletEnabled val="1"/>
        </dgm:presLayoutVars>
      </dgm:prSet>
      <dgm:spPr/>
    </dgm:pt>
    <dgm:pt modelId="{92D9E14B-86B9-6447-9967-7DFEFBF61793}" type="pres">
      <dgm:prSet presAssocID="{80B68F70-78F9-422E-B8E0-7FCC17D73811}" presName="sibTrans" presStyleCnt="0"/>
      <dgm:spPr/>
    </dgm:pt>
    <dgm:pt modelId="{F6ED8AE7-BD59-7943-A622-3E69B76F4BDE}" type="pres">
      <dgm:prSet presAssocID="{67B0A165-6913-4CF8-A7AB-9D1380857488}" presName="node" presStyleLbl="node1" presStyleIdx="3" presStyleCnt="5">
        <dgm:presLayoutVars>
          <dgm:bulletEnabled val="1"/>
        </dgm:presLayoutVars>
      </dgm:prSet>
      <dgm:spPr/>
    </dgm:pt>
    <dgm:pt modelId="{29181722-BFA2-EF4E-9440-B9F98F084BB1}" type="pres">
      <dgm:prSet presAssocID="{725F6117-FE93-4E01-8D6F-0A6E6A784756}" presName="sibTrans" presStyleCnt="0"/>
      <dgm:spPr/>
    </dgm:pt>
    <dgm:pt modelId="{49FD96F0-A5CA-E14F-B86A-2302E77556A9}" type="pres">
      <dgm:prSet presAssocID="{E1774B7B-613C-4A4C-AAE9-8AAFE5049EB1}" presName="node" presStyleLbl="node1" presStyleIdx="4" presStyleCnt="5">
        <dgm:presLayoutVars>
          <dgm:bulletEnabled val="1"/>
        </dgm:presLayoutVars>
      </dgm:prSet>
      <dgm:spPr/>
    </dgm:pt>
  </dgm:ptLst>
  <dgm:cxnLst>
    <dgm:cxn modelId="{F7B92C02-FD92-4625-BDD6-7240DE630D23}" srcId="{F4941EF1-D997-410C-9106-6EBFF98658E0}" destId="{E84C2D47-D58A-47EE-893C-21B78CFAD936}" srcOrd="2" destOrd="0" parTransId="{46DBD264-D3C2-42D5-A5D7-D8599772C861}" sibTransId="{80B68F70-78F9-422E-B8E0-7FCC17D73811}"/>
    <dgm:cxn modelId="{1EA97414-71CE-49D3-816D-F87F5DCAED45}" srcId="{F4941EF1-D997-410C-9106-6EBFF98658E0}" destId="{67B0A165-6913-4CF8-A7AB-9D1380857488}" srcOrd="3" destOrd="0" parTransId="{37F6E400-753F-4476-A2DB-2E47DD4B4168}" sibTransId="{725F6117-FE93-4E01-8D6F-0A6E6A784756}"/>
    <dgm:cxn modelId="{764E3C23-560B-4301-A0ED-F7E1FCCE89A4}" srcId="{F4941EF1-D997-410C-9106-6EBFF98658E0}" destId="{278CEC9C-D9D8-4B1D-8BCC-1A48E648C4FD}" srcOrd="1" destOrd="0" parTransId="{640650D0-F551-4DEE-B372-8F0A5C6A6F30}" sibTransId="{6C5A4C59-F139-43F0-9541-F70AF74B0B2E}"/>
    <dgm:cxn modelId="{01F83153-97AE-4A47-96DA-7182C993A91A}" srcId="{F4941EF1-D997-410C-9106-6EBFF98658E0}" destId="{E1774B7B-613C-4A4C-AAE9-8AAFE5049EB1}" srcOrd="4" destOrd="0" parTransId="{045C6CFC-8CA3-4782-882B-AEC21CAA5CB0}" sibTransId="{3F13770F-8D4C-454C-95EB-D1C0CCA405AF}"/>
    <dgm:cxn modelId="{3C7B5D6B-3314-F64D-8F59-D1DFD569D437}" type="presOf" srcId="{278CEC9C-D9D8-4B1D-8BCC-1A48E648C4FD}" destId="{757B6A4C-B1AE-AF4E-AF67-EB9DBE4282DC}" srcOrd="0" destOrd="0" presId="urn:microsoft.com/office/officeart/2005/8/layout/default"/>
    <dgm:cxn modelId="{5E965A75-9DAF-E341-B113-2708584FB8D7}" type="presOf" srcId="{E84C2D47-D58A-47EE-893C-21B78CFAD936}" destId="{8F78DA7F-6051-C94A-98DE-6B8C1C97E876}" srcOrd="0" destOrd="0" presId="urn:microsoft.com/office/officeart/2005/8/layout/default"/>
    <dgm:cxn modelId="{F4F83B89-5F66-B64B-96E9-7E8685E4D1A1}" type="presOf" srcId="{E1774B7B-613C-4A4C-AAE9-8AAFE5049EB1}" destId="{49FD96F0-A5CA-E14F-B86A-2302E77556A9}" srcOrd="0" destOrd="0" presId="urn:microsoft.com/office/officeart/2005/8/layout/default"/>
    <dgm:cxn modelId="{D1EFC4E1-5B8C-4B6D-937E-74346D1BAD2E}" srcId="{F4941EF1-D997-410C-9106-6EBFF98658E0}" destId="{7544E755-64B6-4CA4-9771-066159743179}" srcOrd="0" destOrd="0" parTransId="{A6D00EB6-1C0D-41C4-9F64-BDAE9A1DBFDD}" sibTransId="{3FE3FEDD-07D6-456D-AF6B-B300E7CE05F1}"/>
    <dgm:cxn modelId="{710E6EE8-BCFD-6F43-B531-ADBADF58084D}" type="presOf" srcId="{67B0A165-6913-4CF8-A7AB-9D1380857488}" destId="{F6ED8AE7-BD59-7943-A622-3E69B76F4BDE}" srcOrd="0" destOrd="0" presId="urn:microsoft.com/office/officeart/2005/8/layout/default"/>
    <dgm:cxn modelId="{54286DF2-C605-554A-B283-069E46429416}" type="presOf" srcId="{F4941EF1-D997-410C-9106-6EBFF98658E0}" destId="{78E3D98F-2DA7-B842-A152-00AD40DAA3AF}" srcOrd="0" destOrd="0" presId="urn:microsoft.com/office/officeart/2005/8/layout/default"/>
    <dgm:cxn modelId="{A82359F5-079C-624D-844F-F844CEA99E7D}" type="presOf" srcId="{7544E755-64B6-4CA4-9771-066159743179}" destId="{AEF3C99F-9C53-C941-9F93-DC1D920FEA51}" srcOrd="0" destOrd="0" presId="urn:microsoft.com/office/officeart/2005/8/layout/default"/>
    <dgm:cxn modelId="{67FC3175-D93A-FE40-B5F1-C9368AD047DF}" type="presParOf" srcId="{78E3D98F-2DA7-B842-A152-00AD40DAA3AF}" destId="{AEF3C99F-9C53-C941-9F93-DC1D920FEA51}" srcOrd="0" destOrd="0" presId="urn:microsoft.com/office/officeart/2005/8/layout/default"/>
    <dgm:cxn modelId="{E08EF837-3C00-B740-B0FE-9DC118AD450F}" type="presParOf" srcId="{78E3D98F-2DA7-B842-A152-00AD40DAA3AF}" destId="{FFF5D7DE-F124-CB47-8F13-D74DBAB5C61D}" srcOrd="1" destOrd="0" presId="urn:microsoft.com/office/officeart/2005/8/layout/default"/>
    <dgm:cxn modelId="{73C5AC9E-BC75-BE48-96F6-539941D2C516}" type="presParOf" srcId="{78E3D98F-2DA7-B842-A152-00AD40DAA3AF}" destId="{757B6A4C-B1AE-AF4E-AF67-EB9DBE4282DC}" srcOrd="2" destOrd="0" presId="urn:microsoft.com/office/officeart/2005/8/layout/default"/>
    <dgm:cxn modelId="{37F2BD38-A49C-4045-80AF-0E63B1685C8C}" type="presParOf" srcId="{78E3D98F-2DA7-B842-A152-00AD40DAA3AF}" destId="{443B1C50-F5C9-DD46-A8F8-3FDA2BD9CBFA}" srcOrd="3" destOrd="0" presId="urn:microsoft.com/office/officeart/2005/8/layout/default"/>
    <dgm:cxn modelId="{3664BF1B-3CE7-464C-851A-1493ABEB8BE0}" type="presParOf" srcId="{78E3D98F-2DA7-B842-A152-00AD40DAA3AF}" destId="{8F78DA7F-6051-C94A-98DE-6B8C1C97E876}" srcOrd="4" destOrd="0" presId="urn:microsoft.com/office/officeart/2005/8/layout/default"/>
    <dgm:cxn modelId="{1CDB5DB0-E018-0F47-B2A5-466EEE5E7A6E}" type="presParOf" srcId="{78E3D98F-2DA7-B842-A152-00AD40DAA3AF}" destId="{92D9E14B-86B9-6447-9967-7DFEFBF61793}" srcOrd="5" destOrd="0" presId="urn:microsoft.com/office/officeart/2005/8/layout/default"/>
    <dgm:cxn modelId="{EA719303-CA33-6B4D-B489-5F7EFE8CBD15}" type="presParOf" srcId="{78E3D98F-2DA7-B842-A152-00AD40DAA3AF}" destId="{F6ED8AE7-BD59-7943-A622-3E69B76F4BDE}" srcOrd="6" destOrd="0" presId="urn:microsoft.com/office/officeart/2005/8/layout/default"/>
    <dgm:cxn modelId="{D4326528-1D03-2441-A277-23221FBBE180}" type="presParOf" srcId="{78E3D98F-2DA7-B842-A152-00AD40DAA3AF}" destId="{29181722-BFA2-EF4E-9440-B9F98F084BB1}" srcOrd="7" destOrd="0" presId="urn:microsoft.com/office/officeart/2005/8/layout/default"/>
    <dgm:cxn modelId="{C90C0D2F-4131-D146-9C91-347B3AB47674}" type="presParOf" srcId="{78E3D98F-2DA7-B842-A152-00AD40DAA3AF}" destId="{49FD96F0-A5CA-E14F-B86A-2302E77556A9}"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6402034-D04C-400A-8B60-A766190627F4}" type="doc">
      <dgm:prSet loTypeId="urn:microsoft.com/office/officeart/2005/8/layout/vProcess5" loCatId="process" qsTypeId="urn:microsoft.com/office/officeart/2005/8/quickstyle/simple2" qsCatId="simple" csTypeId="urn:microsoft.com/office/officeart/2005/8/colors/colorful5" csCatId="colorful" phldr="1"/>
      <dgm:spPr/>
      <dgm:t>
        <a:bodyPr/>
        <a:lstStyle/>
        <a:p>
          <a:endParaRPr lang="en-US"/>
        </a:p>
      </dgm:t>
    </dgm:pt>
    <dgm:pt modelId="{B4059EAC-98C0-4F1B-BCF1-A0F979E5F720}">
      <dgm:prSet/>
      <dgm:spPr/>
      <dgm:t>
        <a:bodyPr/>
        <a:lstStyle/>
        <a:p>
          <a:r>
            <a:rPr lang="en-US" dirty="0"/>
            <a:t>ABA forces autistic children to act “neurotypical”</a:t>
          </a:r>
        </a:p>
      </dgm:t>
    </dgm:pt>
    <dgm:pt modelId="{0B37B58B-9E2E-48AB-B167-BC6521550CB2}" type="parTrans" cxnId="{C949A6A3-F284-4BBA-A802-F7F3B8A64B8E}">
      <dgm:prSet/>
      <dgm:spPr/>
      <dgm:t>
        <a:bodyPr/>
        <a:lstStyle/>
        <a:p>
          <a:endParaRPr lang="en-US"/>
        </a:p>
      </dgm:t>
    </dgm:pt>
    <dgm:pt modelId="{4259ED9D-B681-4C4B-8D98-36A228C912A2}" type="sibTrans" cxnId="{C949A6A3-F284-4BBA-A802-F7F3B8A64B8E}">
      <dgm:prSet/>
      <dgm:spPr/>
      <dgm:t>
        <a:bodyPr/>
        <a:lstStyle/>
        <a:p>
          <a:endParaRPr lang="en-US"/>
        </a:p>
      </dgm:t>
    </dgm:pt>
    <dgm:pt modelId="{A10D574C-9118-4F7E-9FBB-E68D749EC8E3}">
      <dgm:prSet/>
      <dgm:spPr/>
      <dgm:t>
        <a:bodyPr/>
        <a:lstStyle/>
        <a:p>
          <a:r>
            <a:rPr lang="en-US" dirty="0"/>
            <a:t>It’s just bribing kids with candy and toys.</a:t>
          </a:r>
        </a:p>
      </dgm:t>
    </dgm:pt>
    <dgm:pt modelId="{458E967C-478C-44BC-91A7-89B8C0BBE5F9}" type="parTrans" cxnId="{61FF5CF3-0281-4444-A72C-98B32472F545}">
      <dgm:prSet/>
      <dgm:spPr/>
      <dgm:t>
        <a:bodyPr/>
        <a:lstStyle/>
        <a:p>
          <a:endParaRPr lang="en-US"/>
        </a:p>
      </dgm:t>
    </dgm:pt>
    <dgm:pt modelId="{37541629-A456-4BF1-82AB-04BD997B5BAE}" type="sibTrans" cxnId="{61FF5CF3-0281-4444-A72C-98B32472F545}">
      <dgm:prSet/>
      <dgm:spPr/>
      <dgm:t>
        <a:bodyPr/>
        <a:lstStyle/>
        <a:p>
          <a:endParaRPr lang="en-US"/>
        </a:p>
      </dgm:t>
    </dgm:pt>
    <dgm:pt modelId="{BDE7C170-BCF1-4EC0-9BC2-2E719FF40649}">
      <dgm:prSet/>
      <dgm:spPr/>
      <dgm:t>
        <a:bodyPr/>
        <a:lstStyle/>
        <a:p>
          <a:r>
            <a:rPr lang="en-US" dirty="0"/>
            <a:t>ABA only focuses on stopping “bad behaviors”</a:t>
          </a:r>
        </a:p>
      </dgm:t>
    </dgm:pt>
    <dgm:pt modelId="{B4E84146-571B-4265-8265-31483AFE61B4}" type="parTrans" cxnId="{A33ECC76-248A-4E9E-AB4B-095EFE556B2C}">
      <dgm:prSet/>
      <dgm:spPr/>
      <dgm:t>
        <a:bodyPr/>
        <a:lstStyle/>
        <a:p>
          <a:endParaRPr lang="en-US"/>
        </a:p>
      </dgm:t>
    </dgm:pt>
    <dgm:pt modelId="{54FB7CCF-D7B2-41EB-AFC5-861F024B6B32}" type="sibTrans" cxnId="{A33ECC76-248A-4E9E-AB4B-095EFE556B2C}">
      <dgm:prSet/>
      <dgm:spPr/>
      <dgm:t>
        <a:bodyPr/>
        <a:lstStyle/>
        <a:p>
          <a:endParaRPr lang="en-US"/>
        </a:p>
      </dgm:t>
    </dgm:pt>
    <dgm:pt modelId="{5B48EAC4-ED9F-7E4B-979F-D2EDF458ED9A}" type="pres">
      <dgm:prSet presAssocID="{E6402034-D04C-400A-8B60-A766190627F4}" presName="outerComposite" presStyleCnt="0">
        <dgm:presLayoutVars>
          <dgm:chMax val="5"/>
          <dgm:dir/>
          <dgm:resizeHandles val="exact"/>
        </dgm:presLayoutVars>
      </dgm:prSet>
      <dgm:spPr/>
    </dgm:pt>
    <dgm:pt modelId="{7870F250-5038-3242-913C-8768C1B2B903}" type="pres">
      <dgm:prSet presAssocID="{E6402034-D04C-400A-8B60-A766190627F4}" presName="dummyMaxCanvas" presStyleCnt="0">
        <dgm:presLayoutVars/>
      </dgm:prSet>
      <dgm:spPr/>
    </dgm:pt>
    <dgm:pt modelId="{6FC9F735-B220-6E4C-9AFF-FD8B8D3507AA}" type="pres">
      <dgm:prSet presAssocID="{E6402034-D04C-400A-8B60-A766190627F4}" presName="ThreeNodes_1" presStyleLbl="node1" presStyleIdx="0" presStyleCnt="3">
        <dgm:presLayoutVars>
          <dgm:bulletEnabled val="1"/>
        </dgm:presLayoutVars>
      </dgm:prSet>
      <dgm:spPr/>
    </dgm:pt>
    <dgm:pt modelId="{7F69D05C-9533-394D-9A45-B7629478D509}" type="pres">
      <dgm:prSet presAssocID="{E6402034-D04C-400A-8B60-A766190627F4}" presName="ThreeNodes_2" presStyleLbl="node1" presStyleIdx="1" presStyleCnt="3">
        <dgm:presLayoutVars>
          <dgm:bulletEnabled val="1"/>
        </dgm:presLayoutVars>
      </dgm:prSet>
      <dgm:spPr/>
    </dgm:pt>
    <dgm:pt modelId="{CDEC3967-AF3B-D444-AAFE-9149AE642972}" type="pres">
      <dgm:prSet presAssocID="{E6402034-D04C-400A-8B60-A766190627F4}" presName="ThreeNodes_3" presStyleLbl="node1" presStyleIdx="2" presStyleCnt="3">
        <dgm:presLayoutVars>
          <dgm:bulletEnabled val="1"/>
        </dgm:presLayoutVars>
      </dgm:prSet>
      <dgm:spPr/>
    </dgm:pt>
    <dgm:pt modelId="{BD4FDA7C-28B6-8C44-9AB9-34AB24464E83}" type="pres">
      <dgm:prSet presAssocID="{E6402034-D04C-400A-8B60-A766190627F4}" presName="ThreeConn_1-2" presStyleLbl="fgAccFollowNode1" presStyleIdx="0" presStyleCnt="2">
        <dgm:presLayoutVars>
          <dgm:bulletEnabled val="1"/>
        </dgm:presLayoutVars>
      </dgm:prSet>
      <dgm:spPr/>
    </dgm:pt>
    <dgm:pt modelId="{FD7480E6-20B5-784D-BB31-83D9353E8B50}" type="pres">
      <dgm:prSet presAssocID="{E6402034-D04C-400A-8B60-A766190627F4}" presName="ThreeConn_2-3" presStyleLbl="fgAccFollowNode1" presStyleIdx="1" presStyleCnt="2">
        <dgm:presLayoutVars>
          <dgm:bulletEnabled val="1"/>
        </dgm:presLayoutVars>
      </dgm:prSet>
      <dgm:spPr/>
    </dgm:pt>
    <dgm:pt modelId="{53DFDC5E-AED9-ED4F-A688-B75647C83D81}" type="pres">
      <dgm:prSet presAssocID="{E6402034-D04C-400A-8B60-A766190627F4}" presName="ThreeNodes_1_text" presStyleLbl="node1" presStyleIdx="2" presStyleCnt="3">
        <dgm:presLayoutVars>
          <dgm:bulletEnabled val="1"/>
        </dgm:presLayoutVars>
      </dgm:prSet>
      <dgm:spPr/>
    </dgm:pt>
    <dgm:pt modelId="{248D783F-D65A-DB4A-8FC4-1DBA9A3F9BA0}" type="pres">
      <dgm:prSet presAssocID="{E6402034-D04C-400A-8B60-A766190627F4}" presName="ThreeNodes_2_text" presStyleLbl="node1" presStyleIdx="2" presStyleCnt="3">
        <dgm:presLayoutVars>
          <dgm:bulletEnabled val="1"/>
        </dgm:presLayoutVars>
      </dgm:prSet>
      <dgm:spPr/>
    </dgm:pt>
    <dgm:pt modelId="{41148380-72DD-504E-8D50-D9DB398A9D40}" type="pres">
      <dgm:prSet presAssocID="{E6402034-D04C-400A-8B60-A766190627F4}" presName="ThreeNodes_3_text" presStyleLbl="node1" presStyleIdx="2" presStyleCnt="3">
        <dgm:presLayoutVars>
          <dgm:bulletEnabled val="1"/>
        </dgm:presLayoutVars>
      </dgm:prSet>
      <dgm:spPr/>
    </dgm:pt>
  </dgm:ptLst>
  <dgm:cxnLst>
    <dgm:cxn modelId="{3CF00310-14B0-8447-8041-47039432F4AD}" type="presOf" srcId="{E6402034-D04C-400A-8B60-A766190627F4}" destId="{5B48EAC4-ED9F-7E4B-979F-D2EDF458ED9A}" srcOrd="0" destOrd="0" presId="urn:microsoft.com/office/officeart/2005/8/layout/vProcess5"/>
    <dgm:cxn modelId="{D0EB633B-4D4E-C149-9B5E-5876C9461157}" type="presOf" srcId="{BDE7C170-BCF1-4EC0-9BC2-2E719FF40649}" destId="{CDEC3967-AF3B-D444-AAFE-9149AE642972}" srcOrd="0" destOrd="0" presId="urn:microsoft.com/office/officeart/2005/8/layout/vProcess5"/>
    <dgm:cxn modelId="{D68E6B5C-E21C-F34E-90C6-B92498910753}" type="presOf" srcId="{4259ED9D-B681-4C4B-8D98-36A228C912A2}" destId="{BD4FDA7C-28B6-8C44-9AB9-34AB24464E83}" srcOrd="0" destOrd="0" presId="urn:microsoft.com/office/officeart/2005/8/layout/vProcess5"/>
    <dgm:cxn modelId="{A33ECC76-248A-4E9E-AB4B-095EFE556B2C}" srcId="{E6402034-D04C-400A-8B60-A766190627F4}" destId="{BDE7C170-BCF1-4EC0-9BC2-2E719FF40649}" srcOrd="2" destOrd="0" parTransId="{B4E84146-571B-4265-8265-31483AFE61B4}" sibTransId="{54FB7CCF-D7B2-41EB-AFC5-861F024B6B32}"/>
    <dgm:cxn modelId="{3A0B8482-C9F1-5E47-81E8-D81A4C24E0BA}" type="presOf" srcId="{A10D574C-9118-4F7E-9FBB-E68D749EC8E3}" destId="{248D783F-D65A-DB4A-8FC4-1DBA9A3F9BA0}" srcOrd="1" destOrd="0" presId="urn:microsoft.com/office/officeart/2005/8/layout/vProcess5"/>
    <dgm:cxn modelId="{9BFD8A95-5606-014D-ACEB-51F9289BAFD4}" type="presOf" srcId="{B4059EAC-98C0-4F1B-BCF1-A0F979E5F720}" destId="{6FC9F735-B220-6E4C-9AFF-FD8B8D3507AA}" srcOrd="0" destOrd="0" presId="urn:microsoft.com/office/officeart/2005/8/layout/vProcess5"/>
    <dgm:cxn modelId="{C949A6A3-F284-4BBA-A802-F7F3B8A64B8E}" srcId="{E6402034-D04C-400A-8B60-A766190627F4}" destId="{B4059EAC-98C0-4F1B-BCF1-A0F979E5F720}" srcOrd="0" destOrd="0" parTransId="{0B37B58B-9E2E-48AB-B167-BC6521550CB2}" sibTransId="{4259ED9D-B681-4C4B-8D98-36A228C912A2}"/>
    <dgm:cxn modelId="{CE6904CC-CE49-3B4F-9A64-4AFD89363524}" type="presOf" srcId="{BDE7C170-BCF1-4EC0-9BC2-2E719FF40649}" destId="{41148380-72DD-504E-8D50-D9DB398A9D40}" srcOrd="1" destOrd="0" presId="urn:microsoft.com/office/officeart/2005/8/layout/vProcess5"/>
    <dgm:cxn modelId="{20E40DCD-AA7F-7643-B462-E8047A659DEF}" type="presOf" srcId="{37541629-A456-4BF1-82AB-04BD997B5BAE}" destId="{FD7480E6-20B5-784D-BB31-83D9353E8B50}" srcOrd="0" destOrd="0" presId="urn:microsoft.com/office/officeart/2005/8/layout/vProcess5"/>
    <dgm:cxn modelId="{7430C9DA-2952-8749-879B-46B03564C65A}" type="presOf" srcId="{B4059EAC-98C0-4F1B-BCF1-A0F979E5F720}" destId="{53DFDC5E-AED9-ED4F-A688-B75647C83D81}" srcOrd="1" destOrd="0" presId="urn:microsoft.com/office/officeart/2005/8/layout/vProcess5"/>
    <dgm:cxn modelId="{A8F235E0-BB83-9C46-9115-C0987BD3B085}" type="presOf" srcId="{A10D574C-9118-4F7E-9FBB-E68D749EC8E3}" destId="{7F69D05C-9533-394D-9A45-B7629478D509}" srcOrd="0" destOrd="0" presId="urn:microsoft.com/office/officeart/2005/8/layout/vProcess5"/>
    <dgm:cxn modelId="{61FF5CF3-0281-4444-A72C-98B32472F545}" srcId="{E6402034-D04C-400A-8B60-A766190627F4}" destId="{A10D574C-9118-4F7E-9FBB-E68D749EC8E3}" srcOrd="1" destOrd="0" parTransId="{458E967C-478C-44BC-91A7-89B8C0BBE5F9}" sibTransId="{37541629-A456-4BF1-82AB-04BD997B5BAE}"/>
    <dgm:cxn modelId="{A89BE90B-8766-B746-8385-7B57501BF9B1}" type="presParOf" srcId="{5B48EAC4-ED9F-7E4B-979F-D2EDF458ED9A}" destId="{7870F250-5038-3242-913C-8768C1B2B903}" srcOrd="0" destOrd="0" presId="urn:microsoft.com/office/officeart/2005/8/layout/vProcess5"/>
    <dgm:cxn modelId="{C2D6D399-84DE-9244-A436-758BCBECBA7B}" type="presParOf" srcId="{5B48EAC4-ED9F-7E4B-979F-D2EDF458ED9A}" destId="{6FC9F735-B220-6E4C-9AFF-FD8B8D3507AA}" srcOrd="1" destOrd="0" presId="urn:microsoft.com/office/officeart/2005/8/layout/vProcess5"/>
    <dgm:cxn modelId="{AACA8C35-BB69-CB40-A5FF-40121FD92620}" type="presParOf" srcId="{5B48EAC4-ED9F-7E4B-979F-D2EDF458ED9A}" destId="{7F69D05C-9533-394D-9A45-B7629478D509}" srcOrd="2" destOrd="0" presId="urn:microsoft.com/office/officeart/2005/8/layout/vProcess5"/>
    <dgm:cxn modelId="{B3092FB5-84A8-7A45-B011-835351134525}" type="presParOf" srcId="{5B48EAC4-ED9F-7E4B-979F-D2EDF458ED9A}" destId="{CDEC3967-AF3B-D444-AAFE-9149AE642972}" srcOrd="3" destOrd="0" presId="urn:microsoft.com/office/officeart/2005/8/layout/vProcess5"/>
    <dgm:cxn modelId="{1B96A3E2-F32B-9546-B849-277512B592D8}" type="presParOf" srcId="{5B48EAC4-ED9F-7E4B-979F-D2EDF458ED9A}" destId="{BD4FDA7C-28B6-8C44-9AB9-34AB24464E83}" srcOrd="4" destOrd="0" presId="urn:microsoft.com/office/officeart/2005/8/layout/vProcess5"/>
    <dgm:cxn modelId="{C6166B89-0FC0-A946-992F-F25F115AC129}" type="presParOf" srcId="{5B48EAC4-ED9F-7E4B-979F-D2EDF458ED9A}" destId="{FD7480E6-20B5-784D-BB31-83D9353E8B50}" srcOrd="5" destOrd="0" presId="urn:microsoft.com/office/officeart/2005/8/layout/vProcess5"/>
    <dgm:cxn modelId="{B93A065B-A059-6D47-B1BF-9E98EFD156E8}" type="presParOf" srcId="{5B48EAC4-ED9F-7E4B-979F-D2EDF458ED9A}" destId="{53DFDC5E-AED9-ED4F-A688-B75647C83D81}" srcOrd="6" destOrd="0" presId="urn:microsoft.com/office/officeart/2005/8/layout/vProcess5"/>
    <dgm:cxn modelId="{A921A8B3-3E30-AB47-A5A3-5B2C729AC077}" type="presParOf" srcId="{5B48EAC4-ED9F-7E4B-979F-D2EDF458ED9A}" destId="{248D783F-D65A-DB4A-8FC4-1DBA9A3F9BA0}" srcOrd="7" destOrd="0" presId="urn:microsoft.com/office/officeart/2005/8/layout/vProcess5"/>
    <dgm:cxn modelId="{D401B165-8A0A-7F4D-9F20-FB3BCD0EDB28}" type="presParOf" srcId="{5B48EAC4-ED9F-7E4B-979F-D2EDF458ED9A}" destId="{41148380-72DD-504E-8D50-D9DB398A9D40}" srcOrd="8"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E6F4B62-94D2-4CD2-8BBB-61ABF45D23B3}"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B2373C07-E983-4D6C-B3EE-6573A10ACBD6}">
      <dgm:prSet/>
      <dgm:spPr/>
      <dgm:t>
        <a:bodyPr/>
        <a:lstStyle/>
        <a:p>
          <a:r>
            <a:rPr lang="en-US" dirty="0"/>
            <a:t>Speech therapy focuses on language structure, articulation, and communication goals.</a:t>
          </a:r>
        </a:p>
      </dgm:t>
    </dgm:pt>
    <dgm:pt modelId="{BDBF5ABB-FE59-4789-867A-AB8488970E4B}" type="parTrans" cxnId="{AA2A1475-DE41-4557-B15B-0644563E8894}">
      <dgm:prSet/>
      <dgm:spPr/>
      <dgm:t>
        <a:bodyPr/>
        <a:lstStyle/>
        <a:p>
          <a:endParaRPr lang="en-US"/>
        </a:p>
      </dgm:t>
    </dgm:pt>
    <dgm:pt modelId="{C8B7E266-19D4-47B9-90D0-915E19C3C316}" type="sibTrans" cxnId="{AA2A1475-DE41-4557-B15B-0644563E8894}">
      <dgm:prSet/>
      <dgm:spPr/>
      <dgm:t>
        <a:bodyPr/>
        <a:lstStyle/>
        <a:p>
          <a:endParaRPr lang="en-US"/>
        </a:p>
      </dgm:t>
    </dgm:pt>
    <dgm:pt modelId="{92027294-03DF-2345-8A3F-D05D8F383774}">
      <dgm:prSet/>
      <dgm:spPr/>
      <dgm:t>
        <a:bodyPr/>
        <a:lstStyle/>
        <a:p>
          <a:r>
            <a:rPr lang="en-US"/>
            <a:t>ABA focuses on how to teach and motivate learning behaviors.</a:t>
          </a:r>
          <a:endParaRPr lang="en-US" dirty="0"/>
        </a:p>
      </dgm:t>
    </dgm:pt>
    <dgm:pt modelId="{BC7A7BD1-0D34-3C41-A025-A53285AB2A0A}" type="parTrans" cxnId="{10896ACF-2102-B941-91A3-2E1B8190513C}">
      <dgm:prSet/>
      <dgm:spPr/>
      <dgm:t>
        <a:bodyPr/>
        <a:lstStyle/>
        <a:p>
          <a:endParaRPr lang="en-US"/>
        </a:p>
      </dgm:t>
    </dgm:pt>
    <dgm:pt modelId="{789665C0-0A78-D341-8559-065021C7FB2A}" type="sibTrans" cxnId="{10896ACF-2102-B941-91A3-2E1B8190513C}">
      <dgm:prSet/>
      <dgm:spPr/>
      <dgm:t>
        <a:bodyPr/>
        <a:lstStyle/>
        <a:p>
          <a:endParaRPr lang="en-US"/>
        </a:p>
      </dgm:t>
    </dgm:pt>
    <dgm:pt modelId="{36066986-1A85-8E46-8248-CB6B2402976D}">
      <dgm:prSet/>
      <dgm:spPr/>
      <dgm:t>
        <a:bodyPr/>
        <a:lstStyle/>
        <a:p>
          <a:r>
            <a:rPr lang="en-US" dirty="0"/>
            <a:t>They essentially “complete each other” and ensure the client is learning effectively.</a:t>
          </a:r>
        </a:p>
      </dgm:t>
    </dgm:pt>
    <dgm:pt modelId="{B365DFB3-1BA3-5441-8E85-AEB53BF87B4C}" type="parTrans" cxnId="{027C415E-619E-3044-95CB-D67518D87E98}">
      <dgm:prSet/>
      <dgm:spPr/>
      <dgm:t>
        <a:bodyPr/>
        <a:lstStyle/>
        <a:p>
          <a:endParaRPr lang="en-US"/>
        </a:p>
      </dgm:t>
    </dgm:pt>
    <dgm:pt modelId="{62370AE9-47CA-BD4F-975A-BD5D40FF4E15}" type="sibTrans" cxnId="{027C415E-619E-3044-95CB-D67518D87E98}">
      <dgm:prSet/>
      <dgm:spPr/>
      <dgm:t>
        <a:bodyPr/>
        <a:lstStyle/>
        <a:p>
          <a:endParaRPr lang="en-US"/>
        </a:p>
      </dgm:t>
    </dgm:pt>
    <dgm:pt modelId="{9D1F1FA1-D7EA-C348-9653-509081D4E0BC}">
      <dgm:prSet/>
      <dgm:spPr/>
      <dgm:t>
        <a:bodyPr/>
        <a:lstStyle/>
        <a:p>
          <a:r>
            <a:rPr lang="en-US" dirty="0"/>
            <a:t>• ABA helps children learn the 'how'.</a:t>
          </a:r>
        </a:p>
      </dgm:t>
    </dgm:pt>
    <dgm:pt modelId="{A1146BD0-AC14-6644-8FA6-1B9662BCE5AF}" type="parTrans" cxnId="{96EA4397-441C-5D47-968A-B9B499A91E5E}">
      <dgm:prSet/>
      <dgm:spPr/>
      <dgm:t>
        <a:bodyPr/>
        <a:lstStyle/>
        <a:p>
          <a:endParaRPr lang="en-US"/>
        </a:p>
      </dgm:t>
    </dgm:pt>
    <dgm:pt modelId="{13FBA27A-B7D8-FC47-AEBF-7E378EF30307}" type="sibTrans" cxnId="{96EA4397-441C-5D47-968A-B9B499A91E5E}">
      <dgm:prSet/>
      <dgm:spPr/>
      <dgm:t>
        <a:bodyPr/>
        <a:lstStyle/>
        <a:p>
          <a:endParaRPr lang="en-US"/>
        </a:p>
      </dgm:t>
    </dgm:pt>
    <dgm:pt modelId="{3CC320C0-F769-8949-9D1B-024E79252759}">
      <dgm:prSet/>
      <dgm:spPr/>
      <dgm:t>
        <a:bodyPr/>
        <a:lstStyle/>
        <a:p>
          <a:r>
            <a:rPr lang="en-US"/>
            <a:t>• Speech therapy helps children learn the 'what'.</a:t>
          </a:r>
          <a:endParaRPr lang="en-US" dirty="0"/>
        </a:p>
      </dgm:t>
    </dgm:pt>
    <dgm:pt modelId="{EEEC0C8D-17A1-A64D-A9B2-5C6B45887429}" type="parTrans" cxnId="{08CE391F-9A42-8545-9F6F-64FF83D6A773}">
      <dgm:prSet/>
      <dgm:spPr/>
      <dgm:t>
        <a:bodyPr/>
        <a:lstStyle/>
        <a:p>
          <a:endParaRPr lang="en-US"/>
        </a:p>
      </dgm:t>
    </dgm:pt>
    <dgm:pt modelId="{735B3140-B755-9945-8EA0-C002887ABC4D}" type="sibTrans" cxnId="{08CE391F-9A42-8545-9F6F-64FF83D6A773}">
      <dgm:prSet/>
      <dgm:spPr/>
      <dgm:t>
        <a:bodyPr/>
        <a:lstStyle/>
        <a:p>
          <a:endParaRPr lang="en-US"/>
        </a:p>
      </dgm:t>
    </dgm:pt>
    <dgm:pt modelId="{3D999611-BED5-9D46-A3EF-AD3A3F31297E}">
      <dgm:prSet/>
      <dgm:spPr/>
      <dgm:t>
        <a:bodyPr/>
        <a:lstStyle/>
        <a:p>
          <a:r>
            <a:rPr lang="en-US"/>
            <a:t>Collaboration ensures skills are both learned and generalized across environments.</a:t>
          </a:r>
          <a:endParaRPr lang="en-US" dirty="0"/>
        </a:p>
      </dgm:t>
    </dgm:pt>
    <dgm:pt modelId="{AB56ACF7-1F33-8648-A66B-17057BA41C08}" type="parTrans" cxnId="{AF983CA3-E059-D54F-961A-6A58A43353DD}">
      <dgm:prSet/>
      <dgm:spPr/>
      <dgm:t>
        <a:bodyPr/>
        <a:lstStyle/>
        <a:p>
          <a:endParaRPr lang="en-US"/>
        </a:p>
      </dgm:t>
    </dgm:pt>
    <dgm:pt modelId="{2BE5824E-3D40-EC4A-B449-B8502D5527C6}" type="sibTrans" cxnId="{AF983CA3-E059-D54F-961A-6A58A43353DD}">
      <dgm:prSet/>
      <dgm:spPr/>
      <dgm:t>
        <a:bodyPr/>
        <a:lstStyle/>
        <a:p>
          <a:endParaRPr lang="en-US"/>
        </a:p>
      </dgm:t>
    </dgm:pt>
    <dgm:pt modelId="{CEA75C6A-CADF-BF4B-A4E9-36B0DF8BA91E}" type="pres">
      <dgm:prSet presAssocID="{DE6F4B62-94D2-4CD2-8BBB-61ABF45D23B3}" presName="linear" presStyleCnt="0">
        <dgm:presLayoutVars>
          <dgm:animLvl val="lvl"/>
          <dgm:resizeHandles val="exact"/>
        </dgm:presLayoutVars>
      </dgm:prSet>
      <dgm:spPr/>
    </dgm:pt>
    <dgm:pt modelId="{5A89EB21-AC1F-904C-A7ED-2C7F81EF4A5D}" type="pres">
      <dgm:prSet presAssocID="{B2373C07-E983-4D6C-B3EE-6573A10ACBD6}" presName="parentText" presStyleLbl="node1" presStyleIdx="0" presStyleCnt="6">
        <dgm:presLayoutVars>
          <dgm:chMax val="0"/>
          <dgm:bulletEnabled val="1"/>
        </dgm:presLayoutVars>
      </dgm:prSet>
      <dgm:spPr/>
    </dgm:pt>
    <dgm:pt modelId="{002C7B47-EDFD-2F4D-806C-7F8CC3C42FA7}" type="pres">
      <dgm:prSet presAssocID="{C8B7E266-19D4-47B9-90D0-915E19C3C316}" presName="spacer" presStyleCnt="0"/>
      <dgm:spPr/>
    </dgm:pt>
    <dgm:pt modelId="{49352BC4-A7E1-094A-80D2-1C4004F61BA4}" type="pres">
      <dgm:prSet presAssocID="{92027294-03DF-2345-8A3F-D05D8F383774}" presName="parentText" presStyleLbl="node1" presStyleIdx="1" presStyleCnt="6">
        <dgm:presLayoutVars>
          <dgm:chMax val="0"/>
          <dgm:bulletEnabled val="1"/>
        </dgm:presLayoutVars>
      </dgm:prSet>
      <dgm:spPr/>
    </dgm:pt>
    <dgm:pt modelId="{89AB6BDD-B2E8-9343-88D0-27F4FAE7B651}" type="pres">
      <dgm:prSet presAssocID="{789665C0-0A78-D341-8559-065021C7FB2A}" presName="spacer" presStyleCnt="0"/>
      <dgm:spPr/>
    </dgm:pt>
    <dgm:pt modelId="{ADC6C1C1-18C9-C54E-972B-DCDCF286C846}" type="pres">
      <dgm:prSet presAssocID="{36066986-1A85-8E46-8248-CB6B2402976D}" presName="parentText" presStyleLbl="node1" presStyleIdx="2" presStyleCnt="6" custLinFactNeighborX="569" custLinFactNeighborY="-69056">
        <dgm:presLayoutVars>
          <dgm:chMax val="0"/>
          <dgm:bulletEnabled val="1"/>
        </dgm:presLayoutVars>
      </dgm:prSet>
      <dgm:spPr/>
    </dgm:pt>
    <dgm:pt modelId="{51148669-CFB0-C74D-A6F8-804F606AE130}" type="pres">
      <dgm:prSet presAssocID="{62370AE9-47CA-BD4F-975A-BD5D40FF4E15}" presName="spacer" presStyleCnt="0"/>
      <dgm:spPr/>
    </dgm:pt>
    <dgm:pt modelId="{FE097D22-378D-E44E-ADA5-7205E34C3E8C}" type="pres">
      <dgm:prSet presAssocID="{9D1F1FA1-D7EA-C348-9653-509081D4E0BC}" presName="parentText" presStyleLbl="node1" presStyleIdx="3" presStyleCnt="6">
        <dgm:presLayoutVars>
          <dgm:chMax val="0"/>
          <dgm:bulletEnabled val="1"/>
        </dgm:presLayoutVars>
      </dgm:prSet>
      <dgm:spPr/>
    </dgm:pt>
    <dgm:pt modelId="{15FDACE7-63D9-E943-854F-689958DDCFCF}" type="pres">
      <dgm:prSet presAssocID="{13FBA27A-B7D8-FC47-AEBF-7E378EF30307}" presName="spacer" presStyleCnt="0"/>
      <dgm:spPr/>
    </dgm:pt>
    <dgm:pt modelId="{754EB034-392A-3645-983F-D69E6EBF9DA7}" type="pres">
      <dgm:prSet presAssocID="{3CC320C0-F769-8949-9D1B-024E79252759}" presName="parentText" presStyleLbl="node1" presStyleIdx="4" presStyleCnt="6">
        <dgm:presLayoutVars>
          <dgm:chMax val="0"/>
          <dgm:bulletEnabled val="1"/>
        </dgm:presLayoutVars>
      </dgm:prSet>
      <dgm:spPr/>
    </dgm:pt>
    <dgm:pt modelId="{40A72BF2-3C30-B748-A9BD-8B41443A0895}" type="pres">
      <dgm:prSet presAssocID="{735B3140-B755-9945-8EA0-C002887ABC4D}" presName="spacer" presStyleCnt="0"/>
      <dgm:spPr/>
    </dgm:pt>
    <dgm:pt modelId="{4685435F-6A07-B243-826A-1F71167EE67D}" type="pres">
      <dgm:prSet presAssocID="{3D999611-BED5-9D46-A3EF-AD3A3F31297E}" presName="parentText" presStyleLbl="node1" presStyleIdx="5" presStyleCnt="6">
        <dgm:presLayoutVars>
          <dgm:chMax val="0"/>
          <dgm:bulletEnabled val="1"/>
        </dgm:presLayoutVars>
      </dgm:prSet>
      <dgm:spPr/>
    </dgm:pt>
  </dgm:ptLst>
  <dgm:cxnLst>
    <dgm:cxn modelId="{B147EC1C-715B-CC45-96E7-57FE987CA262}" type="presOf" srcId="{3CC320C0-F769-8949-9D1B-024E79252759}" destId="{754EB034-392A-3645-983F-D69E6EBF9DA7}" srcOrd="0" destOrd="0" presId="urn:microsoft.com/office/officeart/2005/8/layout/vList2"/>
    <dgm:cxn modelId="{08CE391F-9A42-8545-9F6F-64FF83D6A773}" srcId="{DE6F4B62-94D2-4CD2-8BBB-61ABF45D23B3}" destId="{3CC320C0-F769-8949-9D1B-024E79252759}" srcOrd="4" destOrd="0" parTransId="{EEEC0C8D-17A1-A64D-A9B2-5C6B45887429}" sibTransId="{735B3140-B755-9945-8EA0-C002887ABC4D}"/>
    <dgm:cxn modelId="{7032D854-5CAE-404A-AE2D-0874F9936ECC}" type="presOf" srcId="{B2373C07-E983-4D6C-B3EE-6573A10ACBD6}" destId="{5A89EB21-AC1F-904C-A7ED-2C7F81EF4A5D}" srcOrd="0" destOrd="0" presId="urn:microsoft.com/office/officeart/2005/8/layout/vList2"/>
    <dgm:cxn modelId="{027C415E-619E-3044-95CB-D67518D87E98}" srcId="{DE6F4B62-94D2-4CD2-8BBB-61ABF45D23B3}" destId="{36066986-1A85-8E46-8248-CB6B2402976D}" srcOrd="2" destOrd="0" parTransId="{B365DFB3-1BA3-5441-8E85-AEB53BF87B4C}" sibTransId="{62370AE9-47CA-BD4F-975A-BD5D40FF4E15}"/>
    <dgm:cxn modelId="{CD3F4360-A0F0-A641-B68C-ED9DDB7E7D50}" type="presOf" srcId="{36066986-1A85-8E46-8248-CB6B2402976D}" destId="{ADC6C1C1-18C9-C54E-972B-DCDCF286C846}" srcOrd="0" destOrd="0" presId="urn:microsoft.com/office/officeart/2005/8/layout/vList2"/>
    <dgm:cxn modelId="{2559256F-A288-514A-810A-FE7DD29F0D14}" type="presOf" srcId="{9D1F1FA1-D7EA-C348-9653-509081D4E0BC}" destId="{FE097D22-378D-E44E-ADA5-7205E34C3E8C}" srcOrd="0" destOrd="0" presId="urn:microsoft.com/office/officeart/2005/8/layout/vList2"/>
    <dgm:cxn modelId="{AA2A1475-DE41-4557-B15B-0644563E8894}" srcId="{DE6F4B62-94D2-4CD2-8BBB-61ABF45D23B3}" destId="{B2373C07-E983-4D6C-B3EE-6573A10ACBD6}" srcOrd="0" destOrd="0" parTransId="{BDBF5ABB-FE59-4789-867A-AB8488970E4B}" sibTransId="{C8B7E266-19D4-47B9-90D0-915E19C3C316}"/>
    <dgm:cxn modelId="{96EA4397-441C-5D47-968A-B9B499A91E5E}" srcId="{DE6F4B62-94D2-4CD2-8BBB-61ABF45D23B3}" destId="{9D1F1FA1-D7EA-C348-9653-509081D4E0BC}" srcOrd="3" destOrd="0" parTransId="{A1146BD0-AC14-6644-8FA6-1B9662BCE5AF}" sibTransId="{13FBA27A-B7D8-FC47-AEBF-7E378EF30307}"/>
    <dgm:cxn modelId="{AF983CA3-E059-D54F-961A-6A58A43353DD}" srcId="{DE6F4B62-94D2-4CD2-8BBB-61ABF45D23B3}" destId="{3D999611-BED5-9D46-A3EF-AD3A3F31297E}" srcOrd="5" destOrd="0" parTransId="{AB56ACF7-1F33-8648-A66B-17057BA41C08}" sibTransId="{2BE5824E-3D40-EC4A-B449-B8502D5527C6}"/>
    <dgm:cxn modelId="{983FAAAD-258B-4546-A388-43FA0AC78761}" type="presOf" srcId="{3D999611-BED5-9D46-A3EF-AD3A3F31297E}" destId="{4685435F-6A07-B243-826A-1F71167EE67D}" srcOrd="0" destOrd="0" presId="urn:microsoft.com/office/officeart/2005/8/layout/vList2"/>
    <dgm:cxn modelId="{377100B9-E14D-4C47-9CE7-AE15AE321495}" type="presOf" srcId="{DE6F4B62-94D2-4CD2-8BBB-61ABF45D23B3}" destId="{CEA75C6A-CADF-BF4B-A4E9-36B0DF8BA91E}" srcOrd="0" destOrd="0" presId="urn:microsoft.com/office/officeart/2005/8/layout/vList2"/>
    <dgm:cxn modelId="{B650E8BC-ACF0-BA4B-9201-324D9AEFBC76}" type="presOf" srcId="{92027294-03DF-2345-8A3F-D05D8F383774}" destId="{49352BC4-A7E1-094A-80D2-1C4004F61BA4}" srcOrd="0" destOrd="0" presId="urn:microsoft.com/office/officeart/2005/8/layout/vList2"/>
    <dgm:cxn modelId="{10896ACF-2102-B941-91A3-2E1B8190513C}" srcId="{DE6F4B62-94D2-4CD2-8BBB-61ABF45D23B3}" destId="{92027294-03DF-2345-8A3F-D05D8F383774}" srcOrd="1" destOrd="0" parTransId="{BC7A7BD1-0D34-3C41-A025-A53285AB2A0A}" sibTransId="{789665C0-0A78-D341-8559-065021C7FB2A}"/>
    <dgm:cxn modelId="{11BF134B-7437-C748-B30E-4E22C2D59DFF}" type="presParOf" srcId="{CEA75C6A-CADF-BF4B-A4E9-36B0DF8BA91E}" destId="{5A89EB21-AC1F-904C-A7ED-2C7F81EF4A5D}" srcOrd="0" destOrd="0" presId="urn:microsoft.com/office/officeart/2005/8/layout/vList2"/>
    <dgm:cxn modelId="{C2861FEB-142D-8549-B019-65BC07BC9A5C}" type="presParOf" srcId="{CEA75C6A-CADF-BF4B-A4E9-36B0DF8BA91E}" destId="{002C7B47-EDFD-2F4D-806C-7F8CC3C42FA7}" srcOrd="1" destOrd="0" presId="urn:microsoft.com/office/officeart/2005/8/layout/vList2"/>
    <dgm:cxn modelId="{9A104337-A317-EA43-AF52-0EFEA62BF75D}" type="presParOf" srcId="{CEA75C6A-CADF-BF4B-A4E9-36B0DF8BA91E}" destId="{49352BC4-A7E1-094A-80D2-1C4004F61BA4}" srcOrd="2" destOrd="0" presId="urn:microsoft.com/office/officeart/2005/8/layout/vList2"/>
    <dgm:cxn modelId="{A5337167-526E-3742-B14B-733782BFCB74}" type="presParOf" srcId="{CEA75C6A-CADF-BF4B-A4E9-36B0DF8BA91E}" destId="{89AB6BDD-B2E8-9343-88D0-27F4FAE7B651}" srcOrd="3" destOrd="0" presId="urn:microsoft.com/office/officeart/2005/8/layout/vList2"/>
    <dgm:cxn modelId="{85636E17-8BEA-CD45-8659-6883B4D380F5}" type="presParOf" srcId="{CEA75C6A-CADF-BF4B-A4E9-36B0DF8BA91E}" destId="{ADC6C1C1-18C9-C54E-972B-DCDCF286C846}" srcOrd="4" destOrd="0" presId="urn:microsoft.com/office/officeart/2005/8/layout/vList2"/>
    <dgm:cxn modelId="{0B40B933-B0EB-514A-BD60-1DAD53F4158D}" type="presParOf" srcId="{CEA75C6A-CADF-BF4B-A4E9-36B0DF8BA91E}" destId="{51148669-CFB0-C74D-A6F8-804F606AE130}" srcOrd="5" destOrd="0" presId="urn:microsoft.com/office/officeart/2005/8/layout/vList2"/>
    <dgm:cxn modelId="{C9A4D107-D5F2-6C40-BE5B-69A61C7E6BFC}" type="presParOf" srcId="{CEA75C6A-CADF-BF4B-A4E9-36B0DF8BA91E}" destId="{FE097D22-378D-E44E-ADA5-7205E34C3E8C}" srcOrd="6" destOrd="0" presId="urn:microsoft.com/office/officeart/2005/8/layout/vList2"/>
    <dgm:cxn modelId="{4E8F8001-ED03-DD41-9FB3-0187AB27D95C}" type="presParOf" srcId="{CEA75C6A-CADF-BF4B-A4E9-36B0DF8BA91E}" destId="{15FDACE7-63D9-E943-854F-689958DDCFCF}" srcOrd="7" destOrd="0" presId="urn:microsoft.com/office/officeart/2005/8/layout/vList2"/>
    <dgm:cxn modelId="{912A2286-3A39-CF47-8866-7F64C4B3CC97}" type="presParOf" srcId="{CEA75C6A-CADF-BF4B-A4E9-36B0DF8BA91E}" destId="{754EB034-392A-3645-983F-D69E6EBF9DA7}" srcOrd="8" destOrd="0" presId="urn:microsoft.com/office/officeart/2005/8/layout/vList2"/>
    <dgm:cxn modelId="{A937B5BB-44B1-9148-9C27-ED311FEAD7D8}" type="presParOf" srcId="{CEA75C6A-CADF-BF4B-A4E9-36B0DF8BA91E}" destId="{40A72BF2-3C30-B748-A9BD-8B41443A0895}" srcOrd="9" destOrd="0" presId="urn:microsoft.com/office/officeart/2005/8/layout/vList2"/>
    <dgm:cxn modelId="{431A0F9E-64BE-6C4E-8054-20052753E484}" type="presParOf" srcId="{CEA75C6A-CADF-BF4B-A4E9-36B0DF8BA91E}" destId="{4685435F-6A07-B243-826A-1F71167EE67D}"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1849363-1E4F-4091-9946-ABC89681A69A}" type="doc">
      <dgm:prSet loTypeId="urn:microsoft.com/office/officeart/2005/8/layout/vList5" loCatId="list" qsTypeId="urn:microsoft.com/office/officeart/2005/8/quickstyle/simple4" qsCatId="simple" csTypeId="urn:microsoft.com/office/officeart/2005/8/colors/colorful1" csCatId="colorful" phldr="1"/>
      <dgm:spPr/>
      <dgm:t>
        <a:bodyPr/>
        <a:lstStyle/>
        <a:p>
          <a:endParaRPr lang="en-US"/>
        </a:p>
      </dgm:t>
    </dgm:pt>
    <dgm:pt modelId="{A711D2EF-2BB7-4247-A221-8428F6B7C79D}">
      <dgm:prSet/>
      <dgm:spPr/>
      <dgm:t>
        <a:bodyPr/>
        <a:lstStyle/>
        <a:p>
          <a:r>
            <a:rPr lang="en-US" dirty="0"/>
            <a:t>• Pairing and Building Rapport: Make sessions enjoyable so the child associates learning with positive experiences.</a:t>
          </a:r>
        </a:p>
      </dgm:t>
    </dgm:pt>
    <dgm:pt modelId="{7E9EFC1C-7516-4ED0-93D0-5052E6769422}" type="parTrans" cxnId="{0D76BB70-3BD5-4715-A7B8-2849ADB19657}">
      <dgm:prSet/>
      <dgm:spPr/>
      <dgm:t>
        <a:bodyPr/>
        <a:lstStyle/>
        <a:p>
          <a:endParaRPr lang="en-US"/>
        </a:p>
      </dgm:t>
    </dgm:pt>
    <dgm:pt modelId="{16FF0545-E09A-436D-B328-8FF6949B3EC2}" type="sibTrans" cxnId="{0D76BB70-3BD5-4715-A7B8-2849ADB19657}">
      <dgm:prSet/>
      <dgm:spPr/>
      <dgm:t>
        <a:bodyPr/>
        <a:lstStyle/>
        <a:p>
          <a:endParaRPr lang="en-US"/>
        </a:p>
      </dgm:t>
    </dgm:pt>
    <dgm:pt modelId="{7FC41E0D-4C00-E14C-8C74-8ED5CD05F605}">
      <dgm:prSet/>
      <dgm:spPr/>
      <dgm:t>
        <a:bodyPr/>
        <a:lstStyle/>
        <a:p>
          <a:r>
            <a:rPr lang="en-US" dirty="0"/>
            <a:t>• Prompting Hierarchies: Gradually reduce assistance (physical → visual → verbal → independent).</a:t>
          </a:r>
        </a:p>
      </dgm:t>
    </dgm:pt>
    <dgm:pt modelId="{57E1508D-7B32-524A-B897-EEC3191DF990}" type="parTrans" cxnId="{DA9D235D-A224-EA41-A9FE-44F6FBFB367D}">
      <dgm:prSet/>
      <dgm:spPr/>
      <dgm:t>
        <a:bodyPr/>
        <a:lstStyle/>
        <a:p>
          <a:endParaRPr lang="en-US"/>
        </a:p>
      </dgm:t>
    </dgm:pt>
    <dgm:pt modelId="{B1B27F84-5FC6-154C-BFE9-F0A317E0B46E}" type="sibTrans" cxnId="{DA9D235D-A224-EA41-A9FE-44F6FBFB367D}">
      <dgm:prSet/>
      <dgm:spPr/>
      <dgm:t>
        <a:bodyPr/>
        <a:lstStyle/>
        <a:p>
          <a:endParaRPr lang="en-US"/>
        </a:p>
      </dgm:t>
    </dgm:pt>
    <dgm:pt modelId="{CA23B809-825A-F640-A620-3881AF493437}">
      <dgm:prSet/>
      <dgm:spPr/>
      <dgm:t>
        <a:bodyPr/>
        <a:lstStyle/>
        <a:p>
          <a:r>
            <a:rPr lang="en-US" dirty="0"/>
            <a:t>• Reinforcement: Use meaningful motivators (praise, play, favorite activities).</a:t>
          </a:r>
        </a:p>
      </dgm:t>
    </dgm:pt>
    <dgm:pt modelId="{9B6DF425-3BF6-4540-B3A7-34AF9CA565F1}" type="parTrans" cxnId="{394CAA93-9F2C-FE4D-8A60-A78DC54DD003}">
      <dgm:prSet/>
      <dgm:spPr/>
      <dgm:t>
        <a:bodyPr/>
        <a:lstStyle/>
        <a:p>
          <a:endParaRPr lang="en-US"/>
        </a:p>
      </dgm:t>
    </dgm:pt>
    <dgm:pt modelId="{148D5703-0802-3E41-A821-196423136568}" type="sibTrans" cxnId="{394CAA93-9F2C-FE4D-8A60-A78DC54DD003}">
      <dgm:prSet/>
      <dgm:spPr/>
      <dgm:t>
        <a:bodyPr/>
        <a:lstStyle/>
        <a:p>
          <a:endParaRPr lang="en-US"/>
        </a:p>
      </dgm:t>
    </dgm:pt>
    <dgm:pt modelId="{923C2DB0-9E39-764F-8867-2AC306B4CFEF}">
      <dgm:prSet/>
      <dgm:spPr/>
      <dgm:t>
        <a:bodyPr/>
        <a:lstStyle/>
        <a:p>
          <a:r>
            <a:rPr lang="en-US" dirty="0"/>
            <a:t>• Shaping: Break down communication into small, teachable steps.</a:t>
          </a:r>
        </a:p>
      </dgm:t>
    </dgm:pt>
    <dgm:pt modelId="{E9306E9C-BDAF-4944-A758-32749AAE65FF}" type="parTrans" cxnId="{423BAB7C-B4A4-CA48-9BDB-838A4486273B}">
      <dgm:prSet/>
      <dgm:spPr/>
      <dgm:t>
        <a:bodyPr/>
        <a:lstStyle/>
        <a:p>
          <a:endParaRPr lang="en-US"/>
        </a:p>
      </dgm:t>
    </dgm:pt>
    <dgm:pt modelId="{D8CAC9A0-EEE4-AE40-BE8D-52D271DD8841}" type="sibTrans" cxnId="{423BAB7C-B4A4-CA48-9BDB-838A4486273B}">
      <dgm:prSet/>
      <dgm:spPr/>
      <dgm:t>
        <a:bodyPr/>
        <a:lstStyle/>
        <a:p>
          <a:endParaRPr lang="en-US"/>
        </a:p>
      </dgm:t>
    </dgm:pt>
    <dgm:pt modelId="{67A6D587-0E50-6946-BCD3-42903A03E43C}">
      <dgm:prSet/>
      <dgm:spPr/>
      <dgm:t>
        <a:bodyPr/>
        <a:lstStyle/>
        <a:p>
          <a:r>
            <a:rPr lang="en-US" dirty="0"/>
            <a:t>• Data Collection: Track progress to understand what’s working and adjust teaching methods.</a:t>
          </a:r>
        </a:p>
      </dgm:t>
    </dgm:pt>
    <dgm:pt modelId="{5123556B-4969-8F43-8522-E613AD858429}" type="parTrans" cxnId="{AF384CE2-806E-3044-9669-29EC610CBB8F}">
      <dgm:prSet/>
      <dgm:spPr/>
      <dgm:t>
        <a:bodyPr/>
        <a:lstStyle/>
        <a:p>
          <a:endParaRPr lang="en-US"/>
        </a:p>
      </dgm:t>
    </dgm:pt>
    <dgm:pt modelId="{FCDE71C8-37E8-DD41-840C-DF1CA92C2139}" type="sibTrans" cxnId="{AF384CE2-806E-3044-9669-29EC610CBB8F}">
      <dgm:prSet/>
      <dgm:spPr/>
      <dgm:t>
        <a:bodyPr/>
        <a:lstStyle/>
        <a:p>
          <a:endParaRPr lang="en-US"/>
        </a:p>
      </dgm:t>
    </dgm:pt>
    <dgm:pt modelId="{35C56612-257D-484F-9FE0-4969134E2349}" type="pres">
      <dgm:prSet presAssocID="{31849363-1E4F-4091-9946-ABC89681A69A}" presName="Name0" presStyleCnt="0">
        <dgm:presLayoutVars>
          <dgm:dir/>
          <dgm:animLvl val="lvl"/>
          <dgm:resizeHandles val="exact"/>
        </dgm:presLayoutVars>
      </dgm:prSet>
      <dgm:spPr/>
    </dgm:pt>
    <dgm:pt modelId="{470DBF60-62D1-984B-B724-7A45914430D8}" type="pres">
      <dgm:prSet presAssocID="{A711D2EF-2BB7-4247-A221-8428F6B7C79D}" presName="linNode" presStyleCnt="0"/>
      <dgm:spPr/>
    </dgm:pt>
    <dgm:pt modelId="{11F82A7F-F976-174B-9F9A-EEC25AAB3D8C}" type="pres">
      <dgm:prSet presAssocID="{A711D2EF-2BB7-4247-A221-8428F6B7C79D}" presName="parentText" presStyleLbl="node1" presStyleIdx="0" presStyleCnt="5" custScaleX="277778">
        <dgm:presLayoutVars>
          <dgm:chMax val="1"/>
          <dgm:bulletEnabled val="1"/>
        </dgm:presLayoutVars>
      </dgm:prSet>
      <dgm:spPr/>
    </dgm:pt>
    <dgm:pt modelId="{FB2CC30E-F651-FE4A-B311-5F3DB334AAC2}" type="pres">
      <dgm:prSet presAssocID="{16FF0545-E09A-436D-B328-8FF6949B3EC2}" presName="sp" presStyleCnt="0"/>
      <dgm:spPr/>
    </dgm:pt>
    <dgm:pt modelId="{0A839437-BFBC-8745-B6D4-311BF2A37307}" type="pres">
      <dgm:prSet presAssocID="{7FC41E0D-4C00-E14C-8C74-8ED5CD05F605}" presName="linNode" presStyleCnt="0"/>
      <dgm:spPr/>
    </dgm:pt>
    <dgm:pt modelId="{F117537F-3E33-0245-AA1F-168773C63DE8}" type="pres">
      <dgm:prSet presAssocID="{7FC41E0D-4C00-E14C-8C74-8ED5CD05F605}" presName="parentText" presStyleLbl="node1" presStyleIdx="1" presStyleCnt="5" custScaleX="277778">
        <dgm:presLayoutVars>
          <dgm:chMax val="1"/>
          <dgm:bulletEnabled val="1"/>
        </dgm:presLayoutVars>
      </dgm:prSet>
      <dgm:spPr/>
    </dgm:pt>
    <dgm:pt modelId="{A84B5148-981D-B84C-AE93-60817D0E00E0}" type="pres">
      <dgm:prSet presAssocID="{B1B27F84-5FC6-154C-BFE9-F0A317E0B46E}" presName="sp" presStyleCnt="0"/>
      <dgm:spPr/>
    </dgm:pt>
    <dgm:pt modelId="{16295FDA-64AA-1F48-95C6-BF2E946BEE57}" type="pres">
      <dgm:prSet presAssocID="{CA23B809-825A-F640-A620-3881AF493437}" presName="linNode" presStyleCnt="0"/>
      <dgm:spPr/>
    </dgm:pt>
    <dgm:pt modelId="{A38CDEA2-4B92-D84F-B976-4D2B6D1AFAFE}" type="pres">
      <dgm:prSet presAssocID="{CA23B809-825A-F640-A620-3881AF493437}" presName="parentText" presStyleLbl="node1" presStyleIdx="2" presStyleCnt="5" custScaleX="277778">
        <dgm:presLayoutVars>
          <dgm:chMax val="1"/>
          <dgm:bulletEnabled val="1"/>
        </dgm:presLayoutVars>
      </dgm:prSet>
      <dgm:spPr/>
    </dgm:pt>
    <dgm:pt modelId="{7E0A96FC-BE8F-F742-9F18-D687CBF495EB}" type="pres">
      <dgm:prSet presAssocID="{148D5703-0802-3E41-A821-196423136568}" presName="sp" presStyleCnt="0"/>
      <dgm:spPr/>
    </dgm:pt>
    <dgm:pt modelId="{6196B4AD-0AFE-364E-89EA-740B3EDE9F2B}" type="pres">
      <dgm:prSet presAssocID="{923C2DB0-9E39-764F-8867-2AC306B4CFEF}" presName="linNode" presStyleCnt="0"/>
      <dgm:spPr/>
    </dgm:pt>
    <dgm:pt modelId="{E1BC51A0-6E49-CF4D-8C16-59D1EB3A84AE}" type="pres">
      <dgm:prSet presAssocID="{923C2DB0-9E39-764F-8867-2AC306B4CFEF}" presName="parentText" presStyleLbl="node1" presStyleIdx="3" presStyleCnt="5" custScaleX="277778">
        <dgm:presLayoutVars>
          <dgm:chMax val="1"/>
          <dgm:bulletEnabled val="1"/>
        </dgm:presLayoutVars>
      </dgm:prSet>
      <dgm:spPr/>
    </dgm:pt>
    <dgm:pt modelId="{E588BDAC-BFA3-2A4E-80FF-5E7032CD8470}" type="pres">
      <dgm:prSet presAssocID="{D8CAC9A0-EEE4-AE40-BE8D-52D271DD8841}" presName="sp" presStyleCnt="0"/>
      <dgm:spPr/>
    </dgm:pt>
    <dgm:pt modelId="{AF9F6FBB-CCC6-4540-B9D2-9AF1E7E7AFA0}" type="pres">
      <dgm:prSet presAssocID="{67A6D587-0E50-6946-BCD3-42903A03E43C}" presName="linNode" presStyleCnt="0"/>
      <dgm:spPr/>
    </dgm:pt>
    <dgm:pt modelId="{4E483A2C-9283-9748-B8BC-BE7C969AFEBA}" type="pres">
      <dgm:prSet presAssocID="{67A6D587-0E50-6946-BCD3-42903A03E43C}" presName="parentText" presStyleLbl="node1" presStyleIdx="4" presStyleCnt="5" custScaleX="277778">
        <dgm:presLayoutVars>
          <dgm:chMax val="1"/>
          <dgm:bulletEnabled val="1"/>
        </dgm:presLayoutVars>
      </dgm:prSet>
      <dgm:spPr/>
    </dgm:pt>
  </dgm:ptLst>
  <dgm:cxnLst>
    <dgm:cxn modelId="{85D39041-83BB-154B-B3C9-0BBEBA0BA77D}" type="presOf" srcId="{A711D2EF-2BB7-4247-A221-8428F6B7C79D}" destId="{11F82A7F-F976-174B-9F9A-EEC25AAB3D8C}" srcOrd="0" destOrd="0" presId="urn:microsoft.com/office/officeart/2005/8/layout/vList5"/>
    <dgm:cxn modelId="{DA9D235D-A224-EA41-A9FE-44F6FBFB367D}" srcId="{31849363-1E4F-4091-9946-ABC89681A69A}" destId="{7FC41E0D-4C00-E14C-8C74-8ED5CD05F605}" srcOrd="1" destOrd="0" parTransId="{57E1508D-7B32-524A-B897-EEC3191DF990}" sibTransId="{B1B27F84-5FC6-154C-BFE9-F0A317E0B46E}"/>
    <dgm:cxn modelId="{0D76BB70-3BD5-4715-A7B8-2849ADB19657}" srcId="{31849363-1E4F-4091-9946-ABC89681A69A}" destId="{A711D2EF-2BB7-4247-A221-8428F6B7C79D}" srcOrd="0" destOrd="0" parTransId="{7E9EFC1C-7516-4ED0-93D0-5052E6769422}" sibTransId="{16FF0545-E09A-436D-B328-8FF6949B3EC2}"/>
    <dgm:cxn modelId="{FE9DA371-DD2D-014E-B931-9A532527D720}" type="presOf" srcId="{67A6D587-0E50-6946-BCD3-42903A03E43C}" destId="{4E483A2C-9283-9748-B8BC-BE7C969AFEBA}" srcOrd="0" destOrd="0" presId="urn:microsoft.com/office/officeart/2005/8/layout/vList5"/>
    <dgm:cxn modelId="{423BAB7C-B4A4-CA48-9BDB-838A4486273B}" srcId="{31849363-1E4F-4091-9946-ABC89681A69A}" destId="{923C2DB0-9E39-764F-8867-2AC306B4CFEF}" srcOrd="3" destOrd="0" parTransId="{E9306E9C-BDAF-4944-A758-32749AAE65FF}" sibTransId="{D8CAC9A0-EEE4-AE40-BE8D-52D271DD8841}"/>
    <dgm:cxn modelId="{394CAA93-9F2C-FE4D-8A60-A78DC54DD003}" srcId="{31849363-1E4F-4091-9946-ABC89681A69A}" destId="{CA23B809-825A-F640-A620-3881AF493437}" srcOrd="2" destOrd="0" parTransId="{9B6DF425-3BF6-4540-B3A7-34AF9CA565F1}" sibTransId="{148D5703-0802-3E41-A821-196423136568}"/>
    <dgm:cxn modelId="{81A045AD-1406-8D4F-AF91-AF19C9440BB9}" type="presOf" srcId="{7FC41E0D-4C00-E14C-8C74-8ED5CD05F605}" destId="{F117537F-3E33-0245-AA1F-168773C63DE8}" srcOrd="0" destOrd="0" presId="urn:microsoft.com/office/officeart/2005/8/layout/vList5"/>
    <dgm:cxn modelId="{F7BA72BD-CA68-EB4C-B75C-759055F0D31F}" type="presOf" srcId="{31849363-1E4F-4091-9946-ABC89681A69A}" destId="{35C56612-257D-484F-9FE0-4969134E2349}" srcOrd="0" destOrd="0" presId="urn:microsoft.com/office/officeart/2005/8/layout/vList5"/>
    <dgm:cxn modelId="{AF384CE2-806E-3044-9669-29EC610CBB8F}" srcId="{31849363-1E4F-4091-9946-ABC89681A69A}" destId="{67A6D587-0E50-6946-BCD3-42903A03E43C}" srcOrd="4" destOrd="0" parTransId="{5123556B-4969-8F43-8522-E613AD858429}" sibTransId="{FCDE71C8-37E8-DD41-840C-DF1CA92C2139}"/>
    <dgm:cxn modelId="{EA5709E7-3239-104B-8400-E35184D5E636}" type="presOf" srcId="{923C2DB0-9E39-764F-8867-2AC306B4CFEF}" destId="{E1BC51A0-6E49-CF4D-8C16-59D1EB3A84AE}" srcOrd="0" destOrd="0" presId="urn:microsoft.com/office/officeart/2005/8/layout/vList5"/>
    <dgm:cxn modelId="{D22B61E8-1D7C-D740-98F7-314C1733DFDC}" type="presOf" srcId="{CA23B809-825A-F640-A620-3881AF493437}" destId="{A38CDEA2-4B92-D84F-B976-4D2B6D1AFAFE}" srcOrd="0" destOrd="0" presId="urn:microsoft.com/office/officeart/2005/8/layout/vList5"/>
    <dgm:cxn modelId="{65886C34-0610-4347-BBAD-7EFE422A0933}" type="presParOf" srcId="{35C56612-257D-484F-9FE0-4969134E2349}" destId="{470DBF60-62D1-984B-B724-7A45914430D8}" srcOrd="0" destOrd="0" presId="urn:microsoft.com/office/officeart/2005/8/layout/vList5"/>
    <dgm:cxn modelId="{89F783A7-C40D-4A4D-A318-DAA4415E7794}" type="presParOf" srcId="{470DBF60-62D1-984B-B724-7A45914430D8}" destId="{11F82A7F-F976-174B-9F9A-EEC25AAB3D8C}" srcOrd="0" destOrd="0" presId="urn:microsoft.com/office/officeart/2005/8/layout/vList5"/>
    <dgm:cxn modelId="{E0A81C75-69A0-0942-B200-50F5A8F7C472}" type="presParOf" srcId="{35C56612-257D-484F-9FE0-4969134E2349}" destId="{FB2CC30E-F651-FE4A-B311-5F3DB334AAC2}" srcOrd="1" destOrd="0" presId="urn:microsoft.com/office/officeart/2005/8/layout/vList5"/>
    <dgm:cxn modelId="{8CEB1E98-762F-4541-9A90-DF0427F43B07}" type="presParOf" srcId="{35C56612-257D-484F-9FE0-4969134E2349}" destId="{0A839437-BFBC-8745-B6D4-311BF2A37307}" srcOrd="2" destOrd="0" presId="urn:microsoft.com/office/officeart/2005/8/layout/vList5"/>
    <dgm:cxn modelId="{142CD044-6ECF-5746-A0A0-8A4D20A740E7}" type="presParOf" srcId="{0A839437-BFBC-8745-B6D4-311BF2A37307}" destId="{F117537F-3E33-0245-AA1F-168773C63DE8}" srcOrd="0" destOrd="0" presId="urn:microsoft.com/office/officeart/2005/8/layout/vList5"/>
    <dgm:cxn modelId="{581909D1-303D-9048-8A20-73182721513C}" type="presParOf" srcId="{35C56612-257D-484F-9FE0-4969134E2349}" destId="{A84B5148-981D-B84C-AE93-60817D0E00E0}" srcOrd="3" destOrd="0" presId="urn:microsoft.com/office/officeart/2005/8/layout/vList5"/>
    <dgm:cxn modelId="{7426A1F3-65C9-2045-9AA6-F3798516F5AA}" type="presParOf" srcId="{35C56612-257D-484F-9FE0-4969134E2349}" destId="{16295FDA-64AA-1F48-95C6-BF2E946BEE57}" srcOrd="4" destOrd="0" presId="urn:microsoft.com/office/officeart/2005/8/layout/vList5"/>
    <dgm:cxn modelId="{D71D02F5-CB5E-1E4A-8885-5EF3215FA265}" type="presParOf" srcId="{16295FDA-64AA-1F48-95C6-BF2E946BEE57}" destId="{A38CDEA2-4B92-D84F-B976-4D2B6D1AFAFE}" srcOrd="0" destOrd="0" presId="urn:microsoft.com/office/officeart/2005/8/layout/vList5"/>
    <dgm:cxn modelId="{A1DFC164-34CC-244F-991D-82DA5FE74DE9}" type="presParOf" srcId="{35C56612-257D-484F-9FE0-4969134E2349}" destId="{7E0A96FC-BE8F-F742-9F18-D687CBF495EB}" srcOrd="5" destOrd="0" presId="urn:microsoft.com/office/officeart/2005/8/layout/vList5"/>
    <dgm:cxn modelId="{A5935021-3061-B142-94C4-B77101FC1C1F}" type="presParOf" srcId="{35C56612-257D-484F-9FE0-4969134E2349}" destId="{6196B4AD-0AFE-364E-89EA-740B3EDE9F2B}" srcOrd="6" destOrd="0" presId="urn:microsoft.com/office/officeart/2005/8/layout/vList5"/>
    <dgm:cxn modelId="{0EAFD6CE-436E-C24C-9D26-F817D255D4B6}" type="presParOf" srcId="{6196B4AD-0AFE-364E-89EA-740B3EDE9F2B}" destId="{E1BC51A0-6E49-CF4D-8C16-59D1EB3A84AE}" srcOrd="0" destOrd="0" presId="urn:microsoft.com/office/officeart/2005/8/layout/vList5"/>
    <dgm:cxn modelId="{DFD262E2-2258-124B-A285-037890C18504}" type="presParOf" srcId="{35C56612-257D-484F-9FE0-4969134E2349}" destId="{E588BDAC-BFA3-2A4E-80FF-5E7032CD8470}" srcOrd="7" destOrd="0" presId="urn:microsoft.com/office/officeart/2005/8/layout/vList5"/>
    <dgm:cxn modelId="{00CD2A0E-92D2-7748-A97F-C65A75C55C39}" type="presParOf" srcId="{35C56612-257D-484F-9FE0-4969134E2349}" destId="{AF9F6FBB-CCC6-4540-B9D2-9AF1E7E7AFA0}" srcOrd="8" destOrd="0" presId="urn:microsoft.com/office/officeart/2005/8/layout/vList5"/>
    <dgm:cxn modelId="{786076A8-D90A-D042-8E01-EE3E0F0311B0}" type="presParOf" srcId="{AF9F6FBB-CCC6-4540-B9D2-9AF1E7E7AFA0}" destId="{4E483A2C-9283-9748-B8BC-BE7C969AFEBA}"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CE23221-9CCE-403D-ACAD-D6FF61037D31}" type="doc">
      <dgm:prSet loTypeId="urn:microsoft.com/office/officeart/2005/8/layout/default" loCatId="list" qsTypeId="urn:microsoft.com/office/officeart/2005/8/quickstyle/simple1" qsCatId="simple" csTypeId="urn:microsoft.com/office/officeart/2018/5/colors/Iconchunking_neutralbg_colorful1" csCatId="colorful" phldr="1"/>
      <dgm:spPr/>
      <dgm:t>
        <a:bodyPr/>
        <a:lstStyle/>
        <a:p>
          <a:endParaRPr lang="en-US"/>
        </a:p>
      </dgm:t>
    </dgm:pt>
    <dgm:pt modelId="{3CE2AC23-A45F-40B3-A0D7-627391AED2DE}">
      <dgm:prSet/>
      <dgm:spPr/>
      <dgm:t>
        <a:bodyPr/>
        <a:lstStyle/>
        <a:p>
          <a:r>
            <a:rPr lang="en-US" dirty="0"/>
            <a:t>• Align ABA programs with speech goals to create consistency.</a:t>
          </a:r>
        </a:p>
      </dgm:t>
    </dgm:pt>
    <dgm:pt modelId="{1569A158-614D-48ED-B419-B13CA6871488}" type="parTrans" cxnId="{9D787007-17A5-4FDE-8434-7BC97FFDA1DF}">
      <dgm:prSet/>
      <dgm:spPr/>
      <dgm:t>
        <a:bodyPr/>
        <a:lstStyle/>
        <a:p>
          <a:endParaRPr lang="en-US"/>
        </a:p>
      </dgm:t>
    </dgm:pt>
    <dgm:pt modelId="{9E126D87-A216-4481-B5F1-393E121C00D0}" type="sibTrans" cxnId="{9D787007-17A5-4FDE-8434-7BC97FFDA1DF}">
      <dgm:prSet/>
      <dgm:spPr/>
      <dgm:t>
        <a:bodyPr/>
        <a:lstStyle/>
        <a:p>
          <a:endParaRPr lang="en-US"/>
        </a:p>
      </dgm:t>
    </dgm:pt>
    <dgm:pt modelId="{EA9B63F5-D816-BC40-95F9-46AB5D1AC822}">
      <dgm:prSet/>
      <dgm:spPr/>
      <dgm:t>
        <a:bodyPr/>
        <a:lstStyle/>
        <a:p>
          <a:r>
            <a:rPr lang="en-US" dirty="0"/>
            <a:t>• Communicate regularly between teams and share data (within HIPAA guidelines/parental consent)</a:t>
          </a:r>
        </a:p>
      </dgm:t>
    </dgm:pt>
    <dgm:pt modelId="{986F2761-811C-BC44-96CC-172A05FA4973}" type="parTrans" cxnId="{374953B5-6ADE-D74A-B64C-CA48799180AD}">
      <dgm:prSet/>
      <dgm:spPr/>
      <dgm:t>
        <a:bodyPr/>
        <a:lstStyle/>
        <a:p>
          <a:endParaRPr lang="en-US"/>
        </a:p>
      </dgm:t>
    </dgm:pt>
    <dgm:pt modelId="{A20857E9-AAB5-0144-A6E2-017C81DF1BF3}" type="sibTrans" cxnId="{374953B5-6ADE-D74A-B64C-CA48799180AD}">
      <dgm:prSet/>
      <dgm:spPr/>
      <dgm:t>
        <a:bodyPr/>
        <a:lstStyle/>
        <a:p>
          <a:endParaRPr lang="en-US"/>
        </a:p>
      </dgm:t>
    </dgm:pt>
    <dgm:pt modelId="{FAFED863-20DB-2644-ACC3-F87803775F2E}">
      <dgm:prSet/>
      <dgm:spPr/>
      <dgm:t>
        <a:bodyPr/>
        <a:lstStyle/>
        <a:p>
          <a:r>
            <a:rPr lang="en-US" dirty="0"/>
            <a:t>• Focus on progress, not perfection, celebrate small wins.</a:t>
          </a:r>
        </a:p>
      </dgm:t>
    </dgm:pt>
    <dgm:pt modelId="{E8814264-38D0-D741-B003-DE9AF04F32F1}" type="parTrans" cxnId="{1F743F34-1E33-9F48-B371-8892EA73F717}">
      <dgm:prSet/>
      <dgm:spPr/>
      <dgm:t>
        <a:bodyPr/>
        <a:lstStyle/>
        <a:p>
          <a:endParaRPr lang="en-US"/>
        </a:p>
      </dgm:t>
    </dgm:pt>
    <dgm:pt modelId="{5848637C-70F0-6345-ADCE-25E47E402CE5}" type="sibTrans" cxnId="{1F743F34-1E33-9F48-B371-8892EA73F717}">
      <dgm:prSet/>
      <dgm:spPr/>
      <dgm:t>
        <a:bodyPr/>
        <a:lstStyle/>
        <a:p>
          <a:endParaRPr lang="en-US"/>
        </a:p>
      </dgm:t>
    </dgm:pt>
    <dgm:pt modelId="{99CCDCE8-F8DD-CE4D-959A-4A0B0332DD69}">
      <dgm:prSet/>
      <dgm:spPr/>
      <dgm:t>
        <a:bodyPr/>
        <a:lstStyle/>
        <a:p>
          <a:r>
            <a:rPr lang="en-US" dirty="0"/>
            <a:t>• Collaboration isn’t about whose method works best, but what helps the child progress.</a:t>
          </a:r>
        </a:p>
      </dgm:t>
    </dgm:pt>
    <dgm:pt modelId="{31F4A9D5-7F62-C64B-88B0-8E8D2CE4C742}" type="parTrans" cxnId="{440209DE-6B31-7642-BAF8-624A8E2938AD}">
      <dgm:prSet/>
      <dgm:spPr/>
      <dgm:t>
        <a:bodyPr/>
        <a:lstStyle/>
        <a:p>
          <a:endParaRPr lang="en-US"/>
        </a:p>
      </dgm:t>
    </dgm:pt>
    <dgm:pt modelId="{FD31809F-303B-C742-9C7B-070440A98588}" type="sibTrans" cxnId="{440209DE-6B31-7642-BAF8-624A8E2938AD}">
      <dgm:prSet/>
      <dgm:spPr/>
      <dgm:t>
        <a:bodyPr/>
        <a:lstStyle/>
        <a:p>
          <a:endParaRPr lang="en-US"/>
        </a:p>
      </dgm:t>
    </dgm:pt>
    <dgm:pt modelId="{7143DB29-3FA1-A64D-A923-7C3EAE40CCBE}">
      <dgm:prSet/>
      <dgm:spPr/>
      <dgm:t>
        <a:bodyPr/>
        <a:lstStyle/>
        <a:p>
          <a:r>
            <a:rPr lang="en-US"/>
            <a:t>• Blend natural play with structured teaching to meet both therapeutic goals.</a:t>
          </a:r>
          <a:endParaRPr lang="en-US" dirty="0"/>
        </a:p>
      </dgm:t>
    </dgm:pt>
    <dgm:pt modelId="{DCA41573-4F77-854B-91DD-4A9A372F0EA7}" type="parTrans" cxnId="{5B14B89E-06F5-774B-9F67-1620D032E823}">
      <dgm:prSet/>
      <dgm:spPr/>
      <dgm:t>
        <a:bodyPr/>
        <a:lstStyle/>
        <a:p>
          <a:endParaRPr lang="en-US"/>
        </a:p>
      </dgm:t>
    </dgm:pt>
    <dgm:pt modelId="{155DFB61-9397-4746-98D6-DB8DDEE3F1D0}" type="sibTrans" cxnId="{5B14B89E-06F5-774B-9F67-1620D032E823}">
      <dgm:prSet/>
      <dgm:spPr/>
      <dgm:t>
        <a:bodyPr/>
        <a:lstStyle/>
        <a:p>
          <a:endParaRPr lang="en-US"/>
        </a:p>
      </dgm:t>
    </dgm:pt>
    <dgm:pt modelId="{7A9E457E-B004-4B43-9472-38889BA3EA1D}" type="pres">
      <dgm:prSet presAssocID="{6CE23221-9CCE-403D-ACAD-D6FF61037D31}" presName="diagram" presStyleCnt="0">
        <dgm:presLayoutVars>
          <dgm:dir/>
          <dgm:resizeHandles val="exact"/>
        </dgm:presLayoutVars>
      </dgm:prSet>
      <dgm:spPr/>
    </dgm:pt>
    <dgm:pt modelId="{8E7CE551-B58C-2B45-BE82-7F547669498D}" type="pres">
      <dgm:prSet presAssocID="{3CE2AC23-A45F-40B3-A0D7-627391AED2DE}" presName="node" presStyleLbl="node1" presStyleIdx="0" presStyleCnt="5">
        <dgm:presLayoutVars>
          <dgm:bulletEnabled val="1"/>
        </dgm:presLayoutVars>
      </dgm:prSet>
      <dgm:spPr/>
    </dgm:pt>
    <dgm:pt modelId="{6C9DD56D-F7A3-614E-800B-A9270EDE30A1}" type="pres">
      <dgm:prSet presAssocID="{9E126D87-A216-4481-B5F1-393E121C00D0}" presName="sibTrans" presStyleCnt="0"/>
      <dgm:spPr/>
    </dgm:pt>
    <dgm:pt modelId="{A3768C3A-E078-ED40-BE5C-A1144B22CEEC}" type="pres">
      <dgm:prSet presAssocID="{EA9B63F5-D816-BC40-95F9-46AB5D1AC822}" presName="node" presStyleLbl="node1" presStyleIdx="1" presStyleCnt="5">
        <dgm:presLayoutVars>
          <dgm:bulletEnabled val="1"/>
        </dgm:presLayoutVars>
      </dgm:prSet>
      <dgm:spPr/>
    </dgm:pt>
    <dgm:pt modelId="{7F12163D-7934-C548-8E6E-CF8C098122F2}" type="pres">
      <dgm:prSet presAssocID="{A20857E9-AAB5-0144-A6E2-017C81DF1BF3}" presName="sibTrans" presStyleCnt="0"/>
      <dgm:spPr/>
    </dgm:pt>
    <dgm:pt modelId="{2F973DEA-3ECA-5341-80D2-7E306470DC79}" type="pres">
      <dgm:prSet presAssocID="{FAFED863-20DB-2644-ACC3-F87803775F2E}" presName="node" presStyleLbl="node1" presStyleIdx="2" presStyleCnt="5">
        <dgm:presLayoutVars>
          <dgm:bulletEnabled val="1"/>
        </dgm:presLayoutVars>
      </dgm:prSet>
      <dgm:spPr/>
    </dgm:pt>
    <dgm:pt modelId="{81C7B7B4-CC7A-A842-9E0D-3CF5DF9C9590}" type="pres">
      <dgm:prSet presAssocID="{5848637C-70F0-6345-ADCE-25E47E402CE5}" presName="sibTrans" presStyleCnt="0"/>
      <dgm:spPr/>
    </dgm:pt>
    <dgm:pt modelId="{3052CB2F-8CDA-284A-835C-35BFF7122A23}" type="pres">
      <dgm:prSet presAssocID="{99CCDCE8-F8DD-CE4D-959A-4A0B0332DD69}" presName="node" presStyleLbl="node1" presStyleIdx="3" presStyleCnt="5">
        <dgm:presLayoutVars>
          <dgm:bulletEnabled val="1"/>
        </dgm:presLayoutVars>
      </dgm:prSet>
      <dgm:spPr/>
    </dgm:pt>
    <dgm:pt modelId="{878C3A12-D91C-A142-86A5-BA4C00774D9F}" type="pres">
      <dgm:prSet presAssocID="{FD31809F-303B-C742-9C7B-070440A98588}" presName="sibTrans" presStyleCnt="0"/>
      <dgm:spPr/>
    </dgm:pt>
    <dgm:pt modelId="{C84A573B-0238-454E-928D-5C4843EDEB85}" type="pres">
      <dgm:prSet presAssocID="{7143DB29-3FA1-A64D-A923-7C3EAE40CCBE}" presName="node" presStyleLbl="node1" presStyleIdx="4" presStyleCnt="5">
        <dgm:presLayoutVars>
          <dgm:bulletEnabled val="1"/>
        </dgm:presLayoutVars>
      </dgm:prSet>
      <dgm:spPr/>
    </dgm:pt>
  </dgm:ptLst>
  <dgm:cxnLst>
    <dgm:cxn modelId="{7FA49105-CFF4-FA40-B8B8-35F1B87376D2}" type="presOf" srcId="{FAFED863-20DB-2644-ACC3-F87803775F2E}" destId="{2F973DEA-3ECA-5341-80D2-7E306470DC79}" srcOrd="0" destOrd="0" presId="urn:microsoft.com/office/officeart/2005/8/layout/default"/>
    <dgm:cxn modelId="{01AA3B06-5624-0F4F-859E-D0F9653CC3AD}" type="presOf" srcId="{7143DB29-3FA1-A64D-A923-7C3EAE40CCBE}" destId="{C84A573B-0238-454E-928D-5C4843EDEB85}" srcOrd="0" destOrd="0" presId="urn:microsoft.com/office/officeart/2005/8/layout/default"/>
    <dgm:cxn modelId="{9D787007-17A5-4FDE-8434-7BC97FFDA1DF}" srcId="{6CE23221-9CCE-403D-ACAD-D6FF61037D31}" destId="{3CE2AC23-A45F-40B3-A0D7-627391AED2DE}" srcOrd="0" destOrd="0" parTransId="{1569A158-614D-48ED-B419-B13CA6871488}" sibTransId="{9E126D87-A216-4481-B5F1-393E121C00D0}"/>
    <dgm:cxn modelId="{2841331D-9D7A-0E49-8EEA-725848778F5E}" type="presOf" srcId="{99CCDCE8-F8DD-CE4D-959A-4A0B0332DD69}" destId="{3052CB2F-8CDA-284A-835C-35BFF7122A23}" srcOrd="0" destOrd="0" presId="urn:microsoft.com/office/officeart/2005/8/layout/default"/>
    <dgm:cxn modelId="{1F743F34-1E33-9F48-B371-8892EA73F717}" srcId="{6CE23221-9CCE-403D-ACAD-D6FF61037D31}" destId="{FAFED863-20DB-2644-ACC3-F87803775F2E}" srcOrd="2" destOrd="0" parTransId="{E8814264-38D0-D741-B003-DE9AF04F32F1}" sibTransId="{5848637C-70F0-6345-ADCE-25E47E402CE5}"/>
    <dgm:cxn modelId="{7AC36960-6895-224E-BE88-D2473677957A}" type="presOf" srcId="{3CE2AC23-A45F-40B3-A0D7-627391AED2DE}" destId="{8E7CE551-B58C-2B45-BE82-7F547669498D}" srcOrd="0" destOrd="0" presId="urn:microsoft.com/office/officeart/2005/8/layout/default"/>
    <dgm:cxn modelId="{FDA47060-B92B-7D46-8414-E9E855DAF254}" type="presOf" srcId="{6CE23221-9CCE-403D-ACAD-D6FF61037D31}" destId="{7A9E457E-B004-4B43-9472-38889BA3EA1D}" srcOrd="0" destOrd="0" presId="urn:microsoft.com/office/officeart/2005/8/layout/default"/>
    <dgm:cxn modelId="{A86FCE62-F324-694A-8257-B1E66B6AF743}" type="presOf" srcId="{EA9B63F5-D816-BC40-95F9-46AB5D1AC822}" destId="{A3768C3A-E078-ED40-BE5C-A1144B22CEEC}" srcOrd="0" destOrd="0" presId="urn:microsoft.com/office/officeart/2005/8/layout/default"/>
    <dgm:cxn modelId="{5B14B89E-06F5-774B-9F67-1620D032E823}" srcId="{6CE23221-9CCE-403D-ACAD-D6FF61037D31}" destId="{7143DB29-3FA1-A64D-A923-7C3EAE40CCBE}" srcOrd="4" destOrd="0" parTransId="{DCA41573-4F77-854B-91DD-4A9A372F0EA7}" sibTransId="{155DFB61-9397-4746-98D6-DB8DDEE3F1D0}"/>
    <dgm:cxn modelId="{374953B5-6ADE-D74A-B64C-CA48799180AD}" srcId="{6CE23221-9CCE-403D-ACAD-D6FF61037D31}" destId="{EA9B63F5-D816-BC40-95F9-46AB5D1AC822}" srcOrd="1" destOrd="0" parTransId="{986F2761-811C-BC44-96CC-172A05FA4973}" sibTransId="{A20857E9-AAB5-0144-A6E2-017C81DF1BF3}"/>
    <dgm:cxn modelId="{440209DE-6B31-7642-BAF8-624A8E2938AD}" srcId="{6CE23221-9CCE-403D-ACAD-D6FF61037D31}" destId="{99CCDCE8-F8DD-CE4D-959A-4A0B0332DD69}" srcOrd="3" destOrd="0" parTransId="{31F4A9D5-7F62-C64B-88B0-8E8D2CE4C742}" sibTransId="{FD31809F-303B-C742-9C7B-070440A98588}"/>
    <dgm:cxn modelId="{1160C6C3-0857-5947-9E22-0434EFC6CF66}" type="presParOf" srcId="{7A9E457E-B004-4B43-9472-38889BA3EA1D}" destId="{8E7CE551-B58C-2B45-BE82-7F547669498D}" srcOrd="0" destOrd="0" presId="urn:microsoft.com/office/officeart/2005/8/layout/default"/>
    <dgm:cxn modelId="{0DA02F6D-2906-8C49-96F6-444CDDE258E7}" type="presParOf" srcId="{7A9E457E-B004-4B43-9472-38889BA3EA1D}" destId="{6C9DD56D-F7A3-614E-800B-A9270EDE30A1}" srcOrd="1" destOrd="0" presId="urn:microsoft.com/office/officeart/2005/8/layout/default"/>
    <dgm:cxn modelId="{96868C61-DDA0-8148-8590-21E4B7DF40C5}" type="presParOf" srcId="{7A9E457E-B004-4B43-9472-38889BA3EA1D}" destId="{A3768C3A-E078-ED40-BE5C-A1144B22CEEC}" srcOrd="2" destOrd="0" presId="urn:microsoft.com/office/officeart/2005/8/layout/default"/>
    <dgm:cxn modelId="{943035CD-7B86-0840-9D63-5EF3A3A7DE6B}" type="presParOf" srcId="{7A9E457E-B004-4B43-9472-38889BA3EA1D}" destId="{7F12163D-7934-C548-8E6E-CF8C098122F2}" srcOrd="3" destOrd="0" presId="urn:microsoft.com/office/officeart/2005/8/layout/default"/>
    <dgm:cxn modelId="{E2EA3264-F353-8146-8311-F0FFE74B19DA}" type="presParOf" srcId="{7A9E457E-B004-4B43-9472-38889BA3EA1D}" destId="{2F973DEA-3ECA-5341-80D2-7E306470DC79}" srcOrd="4" destOrd="0" presId="urn:microsoft.com/office/officeart/2005/8/layout/default"/>
    <dgm:cxn modelId="{D8C72642-CE04-694F-8324-BBD20264CDE4}" type="presParOf" srcId="{7A9E457E-B004-4B43-9472-38889BA3EA1D}" destId="{81C7B7B4-CC7A-A842-9E0D-3CF5DF9C9590}" srcOrd="5" destOrd="0" presId="urn:microsoft.com/office/officeart/2005/8/layout/default"/>
    <dgm:cxn modelId="{2A1108A0-B50E-5E4A-898C-218E4B70E9FF}" type="presParOf" srcId="{7A9E457E-B004-4B43-9472-38889BA3EA1D}" destId="{3052CB2F-8CDA-284A-835C-35BFF7122A23}" srcOrd="6" destOrd="0" presId="urn:microsoft.com/office/officeart/2005/8/layout/default"/>
    <dgm:cxn modelId="{19227481-41E0-E149-B7E0-A5EA26282E06}" type="presParOf" srcId="{7A9E457E-B004-4B43-9472-38889BA3EA1D}" destId="{878C3A12-D91C-A142-86A5-BA4C00774D9F}" srcOrd="7" destOrd="0" presId="urn:microsoft.com/office/officeart/2005/8/layout/default"/>
    <dgm:cxn modelId="{684872CC-7FEA-2546-B0C3-087C345C2B0D}" type="presParOf" srcId="{7A9E457E-B004-4B43-9472-38889BA3EA1D}" destId="{C84A573B-0238-454E-928D-5C4843EDEB85}"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06DB26A-7BB3-42F8-B159-E868B6D43D1C}"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76CE0C94-AEB7-4582-899D-0E6101FA6EDC}">
      <dgm:prSet/>
      <dgm:spPr/>
      <dgm:t>
        <a:bodyPr/>
        <a:lstStyle/>
        <a:p>
          <a:pPr>
            <a:defRPr cap="all"/>
          </a:pPr>
          <a:r>
            <a:rPr lang="en-US"/>
            <a:t>Emma, age 6, is autistic and nonverbal. You encourage her to use her speech device, but she pushes it away</a:t>
          </a:r>
        </a:p>
      </dgm:t>
    </dgm:pt>
    <dgm:pt modelId="{B095AD68-9CD4-4B17-A60B-22D55EA34012}" type="parTrans" cxnId="{3F5682C9-0D36-41B2-AF29-6CDDFE4EA1F6}">
      <dgm:prSet/>
      <dgm:spPr/>
      <dgm:t>
        <a:bodyPr/>
        <a:lstStyle/>
        <a:p>
          <a:endParaRPr lang="en-US"/>
        </a:p>
      </dgm:t>
    </dgm:pt>
    <dgm:pt modelId="{09CCA12B-646F-4333-A649-7F03DC677972}" type="sibTrans" cxnId="{3F5682C9-0D36-41B2-AF29-6CDDFE4EA1F6}">
      <dgm:prSet/>
      <dgm:spPr/>
      <dgm:t>
        <a:bodyPr/>
        <a:lstStyle/>
        <a:p>
          <a:endParaRPr lang="en-US"/>
        </a:p>
      </dgm:t>
    </dgm:pt>
    <dgm:pt modelId="{3DB4D5B3-96DE-E146-BA90-635822910CAC}">
      <dgm:prSet/>
      <dgm:spPr/>
      <dgm:t>
        <a:bodyPr/>
        <a:lstStyle/>
        <a:p>
          <a:pPr>
            <a:defRPr cap="all"/>
          </a:pPr>
          <a:r>
            <a:rPr lang="en-US" dirty="0"/>
            <a:t>• What ABA strategies could help (pairing the device with preferred items, shaping small steps)?</a:t>
          </a:r>
        </a:p>
      </dgm:t>
    </dgm:pt>
    <dgm:pt modelId="{85835279-1B12-854B-A6C3-B8DC787D77D4}" type="parTrans" cxnId="{AC4B96F2-E9B5-9B48-8052-C0553F0EE413}">
      <dgm:prSet/>
      <dgm:spPr/>
      <dgm:t>
        <a:bodyPr/>
        <a:lstStyle/>
        <a:p>
          <a:endParaRPr lang="en-US"/>
        </a:p>
      </dgm:t>
    </dgm:pt>
    <dgm:pt modelId="{38EDD51B-8C85-9E4F-BB87-32C1EC0F6532}" type="sibTrans" cxnId="{AC4B96F2-E9B5-9B48-8052-C0553F0EE413}">
      <dgm:prSet/>
      <dgm:spPr/>
      <dgm:t>
        <a:bodyPr/>
        <a:lstStyle/>
        <a:p>
          <a:endParaRPr lang="en-US"/>
        </a:p>
      </dgm:t>
    </dgm:pt>
    <dgm:pt modelId="{6F18015C-C448-8444-B2D5-2BD3A95B5590}">
      <dgm:prSet/>
      <dgm:spPr/>
      <dgm:t>
        <a:bodyPr/>
        <a:lstStyle/>
        <a:p>
          <a:pPr>
            <a:defRPr cap="all"/>
          </a:pPr>
          <a:r>
            <a:rPr lang="en-US" dirty="0"/>
            <a:t>• How can the SLP and BCBA collaborate to make the device more motivating for Emma?</a:t>
          </a:r>
        </a:p>
      </dgm:t>
    </dgm:pt>
    <dgm:pt modelId="{30FABDF2-27D2-994D-8021-E62BA61CF0A7}" type="parTrans" cxnId="{DCC37EC6-78EA-3243-92E6-4D333DAE2AA8}">
      <dgm:prSet/>
      <dgm:spPr/>
      <dgm:t>
        <a:bodyPr/>
        <a:lstStyle/>
        <a:p>
          <a:endParaRPr lang="en-US"/>
        </a:p>
      </dgm:t>
    </dgm:pt>
    <dgm:pt modelId="{A7C9DF87-C2E6-BA42-95AE-595B5F6D2C9D}" type="sibTrans" cxnId="{DCC37EC6-78EA-3243-92E6-4D333DAE2AA8}">
      <dgm:prSet/>
      <dgm:spPr/>
      <dgm:t>
        <a:bodyPr/>
        <a:lstStyle/>
        <a:p>
          <a:endParaRPr lang="en-US"/>
        </a:p>
      </dgm:t>
    </dgm:pt>
    <dgm:pt modelId="{320D5B8C-2F45-B841-894A-70F92F84DD8C}" type="pres">
      <dgm:prSet presAssocID="{D06DB26A-7BB3-42F8-B159-E868B6D43D1C}" presName="linear" presStyleCnt="0">
        <dgm:presLayoutVars>
          <dgm:animLvl val="lvl"/>
          <dgm:resizeHandles val="exact"/>
        </dgm:presLayoutVars>
      </dgm:prSet>
      <dgm:spPr/>
    </dgm:pt>
    <dgm:pt modelId="{ACE00448-8891-4141-A430-2320CBA7F663}" type="pres">
      <dgm:prSet presAssocID="{76CE0C94-AEB7-4582-899D-0E6101FA6EDC}" presName="parentText" presStyleLbl="node1" presStyleIdx="0" presStyleCnt="3">
        <dgm:presLayoutVars>
          <dgm:chMax val="0"/>
          <dgm:bulletEnabled val="1"/>
        </dgm:presLayoutVars>
      </dgm:prSet>
      <dgm:spPr/>
    </dgm:pt>
    <dgm:pt modelId="{CE023ED3-6E31-B44D-946C-FEE157199F3C}" type="pres">
      <dgm:prSet presAssocID="{09CCA12B-646F-4333-A649-7F03DC677972}" presName="spacer" presStyleCnt="0"/>
      <dgm:spPr/>
    </dgm:pt>
    <dgm:pt modelId="{C1FD1E72-944E-A74A-8E96-E01643E6F235}" type="pres">
      <dgm:prSet presAssocID="{3DB4D5B3-96DE-E146-BA90-635822910CAC}" presName="parentText" presStyleLbl="node1" presStyleIdx="1" presStyleCnt="3">
        <dgm:presLayoutVars>
          <dgm:chMax val="0"/>
          <dgm:bulletEnabled val="1"/>
        </dgm:presLayoutVars>
      </dgm:prSet>
      <dgm:spPr/>
    </dgm:pt>
    <dgm:pt modelId="{D5F7C412-043A-F348-B9A6-E0720A9023A0}" type="pres">
      <dgm:prSet presAssocID="{38EDD51B-8C85-9E4F-BB87-32C1EC0F6532}" presName="spacer" presStyleCnt="0"/>
      <dgm:spPr/>
    </dgm:pt>
    <dgm:pt modelId="{7183C19E-2412-A942-9F4F-62DF47CFAAD9}" type="pres">
      <dgm:prSet presAssocID="{6F18015C-C448-8444-B2D5-2BD3A95B5590}" presName="parentText" presStyleLbl="node1" presStyleIdx="2" presStyleCnt="3">
        <dgm:presLayoutVars>
          <dgm:chMax val="0"/>
          <dgm:bulletEnabled val="1"/>
        </dgm:presLayoutVars>
      </dgm:prSet>
      <dgm:spPr/>
    </dgm:pt>
  </dgm:ptLst>
  <dgm:cxnLst>
    <dgm:cxn modelId="{FA6E1F01-EBD7-3844-9D32-044BB1CF81E6}" type="presOf" srcId="{6F18015C-C448-8444-B2D5-2BD3A95B5590}" destId="{7183C19E-2412-A942-9F4F-62DF47CFAAD9}" srcOrd="0" destOrd="0" presId="urn:microsoft.com/office/officeart/2005/8/layout/vList2"/>
    <dgm:cxn modelId="{19253D17-7E5D-CC4D-A578-F42EDD1DC169}" type="presOf" srcId="{D06DB26A-7BB3-42F8-B159-E868B6D43D1C}" destId="{320D5B8C-2F45-B841-894A-70F92F84DD8C}" srcOrd="0" destOrd="0" presId="urn:microsoft.com/office/officeart/2005/8/layout/vList2"/>
    <dgm:cxn modelId="{1EF3C27F-825A-1A40-BFD5-4274C64BD47A}" type="presOf" srcId="{3DB4D5B3-96DE-E146-BA90-635822910CAC}" destId="{C1FD1E72-944E-A74A-8E96-E01643E6F235}" srcOrd="0" destOrd="0" presId="urn:microsoft.com/office/officeart/2005/8/layout/vList2"/>
    <dgm:cxn modelId="{DCC37EC6-78EA-3243-92E6-4D333DAE2AA8}" srcId="{D06DB26A-7BB3-42F8-B159-E868B6D43D1C}" destId="{6F18015C-C448-8444-B2D5-2BD3A95B5590}" srcOrd="2" destOrd="0" parTransId="{30FABDF2-27D2-994D-8021-E62BA61CF0A7}" sibTransId="{A7C9DF87-C2E6-BA42-95AE-595B5F6D2C9D}"/>
    <dgm:cxn modelId="{3F5682C9-0D36-41B2-AF29-6CDDFE4EA1F6}" srcId="{D06DB26A-7BB3-42F8-B159-E868B6D43D1C}" destId="{76CE0C94-AEB7-4582-899D-0E6101FA6EDC}" srcOrd="0" destOrd="0" parTransId="{B095AD68-9CD4-4B17-A60B-22D55EA34012}" sibTransId="{09CCA12B-646F-4333-A649-7F03DC677972}"/>
    <dgm:cxn modelId="{F090D5DF-DAFF-4740-AABB-74F29CF78F38}" type="presOf" srcId="{76CE0C94-AEB7-4582-899D-0E6101FA6EDC}" destId="{ACE00448-8891-4141-A430-2320CBA7F663}" srcOrd="0" destOrd="0" presId="urn:microsoft.com/office/officeart/2005/8/layout/vList2"/>
    <dgm:cxn modelId="{AC4B96F2-E9B5-9B48-8052-C0553F0EE413}" srcId="{D06DB26A-7BB3-42F8-B159-E868B6D43D1C}" destId="{3DB4D5B3-96DE-E146-BA90-635822910CAC}" srcOrd="1" destOrd="0" parTransId="{85835279-1B12-854B-A6C3-B8DC787D77D4}" sibTransId="{38EDD51B-8C85-9E4F-BB87-32C1EC0F6532}"/>
    <dgm:cxn modelId="{DE12859F-05EB-594B-83A2-E908DCFDEA99}" type="presParOf" srcId="{320D5B8C-2F45-B841-894A-70F92F84DD8C}" destId="{ACE00448-8891-4141-A430-2320CBA7F663}" srcOrd="0" destOrd="0" presId="urn:microsoft.com/office/officeart/2005/8/layout/vList2"/>
    <dgm:cxn modelId="{4CFC6153-B69C-6547-9D61-63DEA3A203E3}" type="presParOf" srcId="{320D5B8C-2F45-B841-894A-70F92F84DD8C}" destId="{CE023ED3-6E31-B44D-946C-FEE157199F3C}" srcOrd="1" destOrd="0" presId="urn:microsoft.com/office/officeart/2005/8/layout/vList2"/>
    <dgm:cxn modelId="{234A6002-C057-6844-B387-B10800B1A333}" type="presParOf" srcId="{320D5B8C-2F45-B841-894A-70F92F84DD8C}" destId="{C1FD1E72-944E-A74A-8E96-E01643E6F235}" srcOrd="2" destOrd="0" presId="urn:microsoft.com/office/officeart/2005/8/layout/vList2"/>
    <dgm:cxn modelId="{456B114B-A58C-A943-A3C9-8C80994F40C8}" type="presParOf" srcId="{320D5B8C-2F45-B841-894A-70F92F84DD8C}" destId="{D5F7C412-043A-F348-B9A6-E0720A9023A0}" srcOrd="3" destOrd="0" presId="urn:microsoft.com/office/officeart/2005/8/layout/vList2"/>
    <dgm:cxn modelId="{D97ED132-EEFA-5F48-94E8-0C4947C6C313}" type="presParOf" srcId="{320D5B8C-2F45-B841-894A-70F92F84DD8C}" destId="{7183C19E-2412-A942-9F4F-62DF47CFAAD9}"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06DB26A-7BB3-42F8-B159-E868B6D43D1C}"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76CE0C94-AEB7-4582-899D-0E6101FA6EDC}">
      <dgm:prSet/>
      <dgm:spPr/>
      <dgm:t>
        <a:bodyPr/>
        <a:lstStyle/>
        <a:p>
          <a:pPr>
            <a:defRPr cap="all"/>
          </a:pPr>
          <a:r>
            <a:rPr lang="en-US" dirty="0"/>
            <a:t>Jayden, age 8, is verbal but limited. During speech drills, he screams and throws materials when asked to respond.</a:t>
          </a:r>
        </a:p>
      </dgm:t>
    </dgm:pt>
    <dgm:pt modelId="{B095AD68-9CD4-4B17-A60B-22D55EA34012}" type="parTrans" cxnId="{3F5682C9-0D36-41B2-AF29-6CDDFE4EA1F6}">
      <dgm:prSet/>
      <dgm:spPr/>
      <dgm:t>
        <a:bodyPr/>
        <a:lstStyle/>
        <a:p>
          <a:endParaRPr lang="en-US"/>
        </a:p>
      </dgm:t>
    </dgm:pt>
    <dgm:pt modelId="{09CCA12B-646F-4333-A649-7F03DC677972}" type="sibTrans" cxnId="{3F5682C9-0D36-41B2-AF29-6CDDFE4EA1F6}">
      <dgm:prSet/>
      <dgm:spPr/>
      <dgm:t>
        <a:bodyPr/>
        <a:lstStyle/>
        <a:p>
          <a:endParaRPr lang="en-US"/>
        </a:p>
      </dgm:t>
    </dgm:pt>
    <dgm:pt modelId="{B57C06D9-11AE-DB41-909F-701F2EE0F149}">
      <dgm:prSet/>
      <dgm:spPr/>
      <dgm:t>
        <a:bodyPr/>
        <a:lstStyle/>
        <a:p>
          <a:pPr>
            <a:defRPr cap="all"/>
          </a:pPr>
          <a:r>
            <a:rPr lang="en-US" dirty="0"/>
            <a:t>• What might be the function of this behavior (escape, attention)?</a:t>
          </a:r>
        </a:p>
      </dgm:t>
    </dgm:pt>
    <dgm:pt modelId="{A8DA6CA2-2224-C24B-91F9-D69C9FBD2C3D}" type="parTrans" cxnId="{0BA5F01E-A2A6-3B42-985E-835436792FF2}">
      <dgm:prSet/>
      <dgm:spPr/>
      <dgm:t>
        <a:bodyPr/>
        <a:lstStyle/>
        <a:p>
          <a:endParaRPr lang="en-US"/>
        </a:p>
      </dgm:t>
    </dgm:pt>
    <dgm:pt modelId="{B255340F-2EAF-E241-A18F-0341401A4910}" type="sibTrans" cxnId="{0BA5F01E-A2A6-3B42-985E-835436792FF2}">
      <dgm:prSet/>
      <dgm:spPr/>
      <dgm:t>
        <a:bodyPr/>
        <a:lstStyle/>
        <a:p>
          <a:endParaRPr lang="en-US"/>
        </a:p>
      </dgm:t>
    </dgm:pt>
    <dgm:pt modelId="{70C4A95A-74C2-CF48-BFE7-824B8BF9D47A}">
      <dgm:prSet/>
      <dgm:spPr/>
      <dgm:t>
        <a:bodyPr/>
        <a:lstStyle/>
        <a:p>
          <a:pPr>
            <a:defRPr cap="all"/>
          </a:pPr>
          <a:r>
            <a:rPr lang="en-US"/>
            <a:t>• How can ABA’s behavior analysis guide intervention?</a:t>
          </a:r>
        </a:p>
      </dgm:t>
    </dgm:pt>
    <dgm:pt modelId="{7AD8B222-0EF2-D94B-8470-5C83EE51DB82}" type="parTrans" cxnId="{A7E24B16-CB71-C247-BF17-12F2CF3EAA70}">
      <dgm:prSet/>
      <dgm:spPr/>
      <dgm:t>
        <a:bodyPr/>
        <a:lstStyle/>
        <a:p>
          <a:endParaRPr lang="en-US"/>
        </a:p>
      </dgm:t>
    </dgm:pt>
    <dgm:pt modelId="{CECF077C-FC8E-A640-B963-6E823E50E5CA}" type="sibTrans" cxnId="{A7E24B16-CB71-C247-BF17-12F2CF3EAA70}">
      <dgm:prSet/>
      <dgm:spPr/>
      <dgm:t>
        <a:bodyPr/>
        <a:lstStyle/>
        <a:p>
          <a:endParaRPr lang="en-US"/>
        </a:p>
      </dgm:t>
    </dgm:pt>
    <dgm:pt modelId="{AFECD96D-7CBA-1047-8AE0-923FE10734B8}">
      <dgm:prSet/>
      <dgm:spPr/>
      <dgm:t>
        <a:bodyPr/>
        <a:lstStyle/>
        <a:p>
          <a:pPr>
            <a:defRPr cap="all"/>
          </a:pPr>
          <a:r>
            <a:rPr lang="en-US" dirty="0"/>
            <a:t>• How can the SLP modify the activity to reduce frustration?</a:t>
          </a:r>
        </a:p>
      </dgm:t>
    </dgm:pt>
    <dgm:pt modelId="{12C5159E-1FD5-1542-8E06-03336F454567}" type="parTrans" cxnId="{FD89826B-E629-F242-B1E7-F06812ADD6CD}">
      <dgm:prSet/>
      <dgm:spPr/>
      <dgm:t>
        <a:bodyPr/>
        <a:lstStyle/>
        <a:p>
          <a:endParaRPr lang="en-US"/>
        </a:p>
      </dgm:t>
    </dgm:pt>
    <dgm:pt modelId="{FB27F805-4F8E-7049-9169-146CF83C865E}" type="sibTrans" cxnId="{FD89826B-E629-F242-B1E7-F06812ADD6CD}">
      <dgm:prSet/>
      <dgm:spPr/>
      <dgm:t>
        <a:bodyPr/>
        <a:lstStyle/>
        <a:p>
          <a:endParaRPr lang="en-US"/>
        </a:p>
      </dgm:t>
    </dgm:pt>
    <dgm:pt modelId="{4C4A2363-1215-7D42-9D39-58BE62BC9382}" type="pres">
      <dgm:prSet presAssocID="{D06DB26A-7BB3-42F8-B159-E868B6D43D1C}" presName="Name0" presStyleCnt="0">
        <dgm:presLayoutVars>
          <dgm:dir/>
          <dgm:animLvl val="lvl"/>
          <dgm:resizeHandles val="exact"/>
        </dgm:presLayoutVars>
      </dgm:prSet>
      <dgm:spPr/>
    </dgm:pt>
    <dgm:pt modelId="{B71D3BBC-262B-1F48-BE26-43C2DDD2B4C3}" type="pres">
      <dgm:prSet presAssocID="{76CE0C94-AEB7-4582-899D-0E6101FA6EDC}" presName="linNode" presStyleCnt="0"/>
      <dgm:spPr/>
    </dgm:pt>
    <dgm:pt modelId="{9102E894-EB6F-3447-9E47-402C0DCCCCC6}" type="pres">
      <dgm:prSet presAssocID="{76CE0C94-AEB7-4582-899D-0E6101FA6EDC}" presName="parentText" presStyleLbl="node1" presStyleIdx="0" presStyleCnt="4" custScaleX="277778">
        <dgm:presLayoutVars>
          <dgm:chMax val="1"/>
          <dgm:bulletEnabled val="1"/>
        </dgm:presLayoutVars>
      </dgm:prSet>
      <dgm:spPr/>
    </dgm:pt>
    <dgm:pt modelId="{B1D59894-CF40-E048-A418-2244215217D8}" type="pres">
      <dgm:prSet presAssocID="{09CCA12B-646F-4333-A649-7F03DC677972}" presName="sp" presStyleCnt="0"/>
      <dgm:spPr/>
    </dgm:pt>
    <dgm:pt modelId="{82878462-881A-B948-BF6E-C78933ED0EE5}" type="pres">
      <dgm:prSet presAssocID="{B57C06D9-11AE-DB41-909F-701F2EE0F149}" presName="linNode" presStyleCnt="0"/>
      <dgm:spPr/>
    </dgm:pt>
    <dgm:pt modelId="{7B03185B-9002-2946-8FFC-DD011E554D3A}" type="pres">
      <dgm:prSet presAssocID="{B57C06D9-11AE-DB41-909F-701F2EE0F149}" presName="parentText" presStyleLbl="node1" presStyleIdx="1" presStyleCnt="4" custScaleX="277778">
        <dgm:presLayoutVars>
          <dgm:chMax val="1"/>
          <dgm:bulletEnabled val="1"/>
        </dgm:presLayoutVars>
      </dgm:prSet>
      <dgm:spPr/>
    </dgm:pt>
    <dgm:pt modelId="{6D12C4D5-DAFD-374F-859E-5A2A0CAA2BF1}" type="pres">
      <dgm:prSet presAssocID="{B255340F-2EAF-E241-A18F-0341401A4910}" presName="sp" presStyleCnt="0"/>
      <dgm:spPr/>
    </dgm:pt>
    <dgm:pt modelId="{7143A73B-63CE-F047-80D0-2779882C18D6}" type="pres">
      <dgm:prSet presAssocID="{70C4A95A-74C2-CF48-BFE7-824B8BF9D47A}" presName="linNode" presStyleCnt="0"/>
      <dgm:spPr/>
    </dgm:pt>
    <dgm:pt modelId="{99576502-94DD-1647-AF31-66BA367AF8CB}" type="pres">
      <dgm:prSet presAssocID="{70C4A95A-74C2-CF48-BFE7-824B8BF9D47A}" presName="parentText" presStyleLbl="node1" presStyleIdx="2" presStyleCnt="4" custScaleX="277778">
        <dgm:presLayoutVars>
          <dgm:chMax val="1"/>
          <dgm:bulletEnabled val="1"/>
        </dgm:presLayoutVars>
      </dgm:prSet>
      <dgm:spPr/>
    </dgm:pt>
    <dgm:pt modelId="{BE4EEE26-FEC7-C74A-B4E4-FE62A55BFA38}" type="pres">
      <dgm:prSet presAssocID="{CECF077C-FC8E-A640-B963-6E823E50E5CA}" presName="sp" presStyleCnt="0"/>
      <dgm:spPr/>
    </dgm:pt>
    <dgm:pt modelId="{65DCAC68-4E83-0E4F-9CCB-A7030006518C}" type="pres">
      <dgm:prSet presAssocID="{AFECD96D-7CBA-1047-8AE0-923FE10734B8}" presName="linNode" presStyleCnt="0"/>
      <dgm:spPr/>
    </dgm:pt>
    <dgm:pt modelId="{1CA4ABE4-AD78-9E4D-B06B-AF02A3E97D2D}" type="pres">
      <dgm:prSet presAssocID="{AFECD96D-7CBA-1047-8AE0-923FE10734B8}" presName="parentText" presStyleLbl="node1" presStyleIdx="3" presStyleCnt="4" custScaleX="277778">
        <dgm:presLayoutVars>
          <dgm:chMax val="1"/>
          <dgm:bulletEnabled val="1"/>
        </dgm:presLayoutVars>
      </dgm:prSet>
      <dgm:spPr/>
    </dgm:pt>
  </dgm:ptLst>
  <dgm:cxnLst>
    <dgm:cxn modelId="{A7E24B16-CB71-C247-BF17-12F2CF3EAA70}" srcId="{D06DB26A-7BB3-42F8-B159-E868B6D43D1C}" destId="{70C4A95A-74C2-CF48-BFE7-824B8BF9D47A}" srcOrd="2" destOrd="0" parTransId="{7AD8B222-0EF2-D94B-8470-5C83EE51DB82}" sibTransId="{CECF077C-FC8E-A640-B963-6E823E50E5CA}"/>
    <dgm:cxn modelId="{0BA5F01E-A2A6-3B42-985E-835436792FF2}" srcId="{D06DB26A-7BB3-42F8-B159-E868B6D43D1C}" destId="{B57C06D9-11AE-DB41-909F-701F2EE0F149}" srcOrd="1" destOrd="0" parTransId="{A8DA6CA2-2224-C24B-91F9-D69C9FBD2C3D}" sibTransId="{B255340F-2EAF-E241-A18F-0341401A4910}"/>
    <dgm:cxn modelId="{525B2C28-241B-DC42-9CCA-E72077596A41}" type="presOf" srcId="{76CE0C94-AEB7-4582-899D-0E6101FA6EDC}" destId="{9102E894-EB6F-3447-9E47-402C0DCCCCC6}" srcOrd="0" destOrd="0" presId="urn:microsoft.com/office/officeart/2005/8/layout/vList5"/>
    <dgm:cxn modelId="{E735D934-CD30-C348-AED9-6F63180380D4}" type="presOf" srcId="{AFECD96D-7CBA-1047-8AE0-923FE10734B8}" destId="{1CA4ABE4-AD78-9E4D-B06B-AF02A3E97D2D}" srcOrd="0" destOrd="0" presId="urn:microsoft.com/office/officeart/2005/8/layout/vList5"/>
    <dgm:cxn modelId="{BA26BB38-FD5A-654B-805C-EB6FBA3EB463}" type="presOf" srcId="{B57C06D9-11AE-DB41-909F-701F2EE0F149}" destId="{7B03185B-9002-2946-8FFC-DD011E554D3A}" srcOrd="0" destOrd="0" presId="urn:microsoft.com/office/officeart/2005/8/layout/vList5"/>
    <dgm:cxn modelId="{60823041-22D9-DC4A-A238-90A1FE6001A9}" type="presOf" srcId="{70C4A95A-74C2-CF48-BFE7-824B8BF9D47A}" destId="{99576502-94DD-1647-AF31-66BA367AF8CB}" srcOrd="0" destOrd="0" presId="urn:microsoft.com/office/officeart/2005/8/layout/vList5"/>
    <dgm:cxn modelId="{FD89826B-E629-F242-B1E7-F06812ADD6CD}" srcId="{D06DB26A-7BB3-42F8-B159-E868B6D43D1C}" destId="{AFECD96D-7CBA-1047-8AE0-923FE10734B8}" srcOrd="3" destOrd="0" parTransId="{12C5159E-1FD5-1542-8E06-03336F454567}" sibTransId="{FB27F805-4F8E-7049-9169-146CF83C865E}"/>
    <dgm:cxn modelId="{3F5682C9-0D36-41B2-AF29-6CDDFE4EA1F6}" srcId="{D06DB26A-7BB3-42F8-B159-E868B6D43D1C}" destId="{76CE0C94-AEB7-4582-899D-0E6101FA6EDC}" srcOrd="0" destOrd="0" parTransId="{B095AD68-9CD4-4B17-A60B-22D55EA34012}" sibTransId="{09CCA12B-646F-4333-A649-7F03DC677972}"/>
    <dgm:cxn modelId="{4B69A7FD-4CDA-EC46-A068-A79FEB9BA184}" type="presOf" srcId="{D06DB26A-7BB3-42F8-B159-E868B6D43D1C}" destId="{4C4A2363-1215-7D42-9D39-58BE62BC9382}" srcOrd="0" destOrd="0" presId="urn:microsoft.com/office/officeart/2005/8/layout/vList5"/>
    <dgm:cxn modelId="{4FED48E9-7E3B-4D4D-A299-775AC58A4E0D}" type="presParOf" srcId="{4C4A2363-1215-7D42-9D39-58BE62BC9382}" destId="{B71D3BBC-262B-1F48-BE26-43C2DDD2B4C3}" srcOrd="0" destOrd="0" presId="urn:microsoft.com/office/officeart/2005/8/layout/vList5"/>
    <dgm:cxn modelId="{CB227DFE-A045-6B44-9DFF-4B8CFFAECC72}" type="presParOf" srcId="{B71D3BBC-262B-1F48-BE26-43C2DDD2B4C3}" destId="{9102E894-EB6F-3447-9E47-402C0DCCCCC6}" srcOrd="0" destOrd="0" presId="urn:microsoft.com/office/officeart/2005/8/layout/vList5"/>
    <dgm:cxn modelId="{BE5C2629-9B10-9D46-A72D-21508BA71713}" type="presParOf" srcId="{4C4A2363-1215-7D42-9D39-58BE62BC9382}" destId="{B1D59894-CF40-E048-A418-2244215217D8}" srcOrd="1" destOrd="0" presId="urn:microsoft.com/office/officeart/2005/8/layout/vList5"/>
    <dgm:cxn modelId="{96DA28FA-0F43-BE4D-9857-CE7EF2B52146}" type="presParOf" srcId="{4C4A2363-1215-7D42-9D39-58BE62BC9382}" destId="{82878462-881A-B948-BF6E-C78933ED0EE5}" srcOrd="2" destOrd="0" presId="urn:microsoft.com/office/officeart/2005/8/layout/vList5"/>
    <dgm:cxn modelId="{1D6D5674-90F8-7F4D-B80C-78E7FDF11DA7}" type="presParOf" srcId="{82878462-881A-B948-BF6E-C78933ED0EE5}" destId="{7B03185B-9002-2946-8FFC-DD011E554D3A}" srcOrd="0" destOrd="0" presId="urn:microsoft.com/office/officeart/2005/8/layout/vList5"/>
    <dgm:cxn modelId="{FD499DD1-F153-5242-B9FB-52B82D0A480F}" type="presParOf" srcId="{4C4A2363-1215-7D42-9D39-58BE62BC9382}" destId="{6D12C4D5-DAFD-374F-859E-5A2A0CAA2BF1}" srcOrd="3" destOrd="0" presId="urn:microsoft.com/office/officeart/2005/8/layout/vList5"/>
    <dgm:cxn modelId="{695103A8-88F4-0747-80F7-EEFFFD538CA5}" type="presParOf" srcId="{4C4A2363-1215-7D42-9D39-58BE62BC9382}" destId="{7143A73B-63CE-F047-80D0-2779882C18D6}" srcOrd="4" destOrd="0" presId="urn:microsoft.com/office/officeart/2005/8/layout/vList5"/>
    <dgm:cxn modelId="{B66F20EC-3C88-F34B-9BFA-B2440F215123}" type="presParOf" srcId="{7143A73B-63CE-F047-80D0-2779882C18D6}" destId="{99576502-94DD-1647-AF31-66BA367AF8CB}" srcOrd="0" destOrd="0" presId="urn:microsoft.com/office/officeart/2005/8/layout/vList5"/>
    <dgm:cxn modelId="{5A43D8BE-F3BA-1F4E-96DB-1D2727D2DE53}" type="presParOf" srcId="{4C4A2363-1215-7D42-9D39-58BE62BC9382}" destId="{BE4EEE26-FEC7-C74A-B4E4-FE62A55BFA38}" srcOrd="5" destOrd="0" presId="urn:microsoft.com/office/officeart/2005/8/layout/vList5"/>
    <dgm:cxn modelId="{6713EBEC-530A-2845-A6FD-ECE8EC14F4A3}" type="presParOf" srcId="{4C4A2363-1215-7D42-9D39-58BE62BC9382}" destId="{65DCAC68-4E83-0E4F-9CCB-A7030006518C}" srcOrd="6" destOrd="0" presId="urn:microsoft.com/office/officeart/2005/8/layout/vList5"/>
    <dgm:cxn modelId="{8FC46E73-EE3D-9D47-8A7F-0A465E046D9F}" type="presParOf" srcId="{65DCAC68-4E83-0E4F-9CCB-A7030006518C}" destId="{1CA4ABE4-AD78-9E4D-B06B-AF02A3E97D2D}" srcOrd="0"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37639A-A545-394E-946C-0FB42FA35D59}">
      <dsp:nvSpPr>
        <dsp:cNvPr id="0" name=""/>
        <dsp:cNvSpPr/>
      </dsp:nvSpPr>
      <dsp:spPr>
        <a:xfrm>
          <a:off x="0" y="253470"/>
          <a:ext cx="5175384" cy="120978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Autism is a neurodevelopmental condition that affects how individuals communicate, interact, and process information.</a:t>
          </a:r>
        </a:p>
      </dsp:txBody>
      <dsp:txXfrm>
        <a:off x="59057" y="312527"/>
        <a:ext cx="5057270" cy="1091666"/>
      </dsp:txXfrm>
    </dsp:sp>
    <dsp:sp modelId="{1DE49C0F-EBD1-274C-9DF4-FE8D81E02913}">
      <dsp:nvSpPr>
        <dsp:cNvPr id="0" name=""/>
        <dsp:cNvSpPr/>
      </dsp:nvSpPr>
      <dsp:spPr>
        <a:xfrm>
          <a:off x="0" y="1526610"/>
          <a:ext cx="5175384" cy="1209780"/>
        </a:xfrm>
        <a:prstGeom prst="roundRect">
          <a:avLst/>
        </a:prstGeom>
        <a:solidFill>
          <a:schemeClr val="accent2">
            <a:hueOff val="1560506"/>
            <a:satOff val="-1946"/>
            <a:lumOff val="45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 It exists on a spectrum, and every individual’s strengths and challenges look different.</a:t>
          </a:r>
        </a:p>
      </dsp:txBody>
      <dsp:txXfrm>
        <a:off x="59057" y="1585667"/>
        <a:ext cx="5057270" cy="1091666"/>
      </dsp:txXfrm>
    </dsp:sp>
    <dsp:sp modelId="{767E1646-AF41-0743-A60A-1D15A6317DCC}">
      <dsp:nvSpPr>
        <dsp:cNvPr id="0" name=""/>
        <dsp:cNvSpPr/>
      </dsp:nvSpPr>
      <dsp:spPr>
        <a:xfrm>
          <a:off x="0" y="2799750"/>
          <a:ext cx="5175384" cy="1209780"/>
        </a:xfrm>
        <a:prstGeom prst="roundRect">
          <a:avLst/>
        </a:prstGeom>
        <a:solidFill>
          <a:schemeClr val="accent2">
            <a:hueOff val="3121013"/>
            <a:satOff val="-3893"/>
            <a:lumOff val="9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 Common areas impacted: communication, social interaction, sensory processing, and flexibility.</a:t>
          </a:r>
        </a:p>
      </dsp:txBody>
      <dsp:txXfrm>
        <a:off x="59057" y="2858807"/>
        <a:ext cx="5057270" cy="1091666"/>
      </dsp:txXfrm>
    </dsp:sp>
    <dsp:sp modelId="{C32DA7FC-55C5-BA41-B586-EB86CAAFBE03}">
      <dsp:nvSpPr>
        <dsp:cNvPr id="0" name=""/>
        <dsp:cNvSpPr/>
      </dsp:nvSpPr>
      <dsp:spPr>
        <a:xfrm>
          <a:off x="0" y="4072890"/>
          <a:ext cx="5175384" cy="1209780"/>
        </a:xfrm>
        <a:prstGeom prst="roundRect">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 For SLPs: language goals often need to consider motivation, regulation, and sensory needs, not just articulation.</a:t>
          </a:r>
        </a:p>
      </dsp:txBody>
      <dsp:txXfrm>
        <a:off x="59057" y="4131947"/>
        <a:ext cx="5057270" cy="109166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05E3E7-501D-0C45-8910-7EDF50BC61B6}">
      <dsp:nvSpPr>
        <dsp:cNvPr id="0" name=""/>
        <dsp:cNvSpPr/>
      </dsp:nvSpPr>
      <dsp:spPr>
        <a:xfrm>
          <a:off x="0" y="0"/>
          <a:ext cx="6703694" cy="130540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defRPr cap="all"/>
          </a:pPr>
          <a:r>
            <a:rPr lang="en-US" sz="2100" kern="1200"/>
            <a:t>Sophie repeats everything you say instead of answering your questions.</a:t>
          </a:r>
        </a:p>
      </dsp:txBody>
      <dsp:txXfrm>
        <a:off x="38234" y="38234"/>
        <a:ext cx="5295064" cy="1228933"/>
      </dsp:txXfrm>
    </dsp:sp>
    <dsp:sp modelId="{18D7BB75-03A9-CA40-90EC-28EA7353CF0A}">
      <dsp:nvSpPr>
        <dsp:cNvPr id="0" name=""/>
        <dsp:cNvSpPr/>
      </dsp:nvSpPr>
      <dsp:spPr>
        <a:xfrm>
          <a:off x="591502" y="1522968"/>
          <a:ext cx="6703694" cy="1305401"/>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defRPr cap="all"/>
          </a:pPr>
          <a:r>
            <a:rPr lang="en-US" sz="2100" kern="1200"/>
            <a:t>• How can ABA techniques teach functional responses (using fill-in-the-blank, practicing flexible answers)?</a:t>
          </a:r>
        </a:p>
      </dsp:txBody>
      <dsp:txXfrm>
        <a:off x="629736" y="1561202"/>
        <a:ext cx="5187213" cy="1228933"/>
      </dsp:txXfrm>
    </dsp:sp>
    <dsp:sp modelId="{B635D116-7A87-2A48-9A11-AA51F638A7BA}">
      <dsp:nvSpPr>
        <dsp:cNvPr id="0" name=""/>
        <dsp:cNvSpPr/>
      </dsp:nvSpPr>
      <dsp:spPr>
        <a:xfrm>
          <a:off x="1183005" y="3045936"/>
          <a:ext cx="6703694" cy="1305401"/>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defRPr cap="all"/>
          </a:pPr>
          <a:r>
            <a:rPr lang="en-US" sz="2100" kern="1200"/>
            <a:t>• How can SLPs use repetition constructively within therapy?</a:t>
          </a:r>
        </a:p>
      </dsp:txBody>
      <dsp:txXfrm>
        <a:off x="1221239" y="3084170"/>
        <a:ext cx="5187213" cy="1228933"/>
      </dsp:txXfrm>
    </dsp:sp>
    <dsp:sp modelId="{F6AEC4B9-E68E-1F4C-8BA0-6CD84A0FCACA}">
      <dsp:nvSpPr>
        <dsp:cNvPr id="0" name=""/>
        <dsp:cNvSpPr/>
      </dsp:nvSpPr>
      <dsp:spPr>
        <a:xfrm>
          <a:off x="5855184" y="989929"/>
          <a:ext cx="848510" cy="848510"/>
        </a:xfrm>
        <a:prstGeom prst="downArrow">
          <a:avLst>
            <a:gd name="adj1" fmla="val 55000"/>
            <a:gd name="adj2" fmla="val 45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6046099" y="989929"/>
        <a:ext cx="466680" cy="638504"/>
      </dsp:txXfrm>
    </dsp:sp>
    <dsp:sp modelId="{4D0A6AEC-67AB-554D-B72E-2098B14E287F}">
      <dsp:nvSpPr>
        <dsp:cNvPr id="0" name=""/>
        <dsp:cNvSpPr/>
      </dsp:nvSpPr>
      <dsp:spPr>
        <a:xfrm>
          <a:off x="6446686" y="2504195"/>
          <a:ext cx="848510" cy="848510"/>
        </a:xfrm>
        <a:prstGeom prst="downArrow">
          <a:avLst>
            <a:gd name="adj1" fmla="val 55000"/>
            <a:gd name="adj2" fmla="val 45000"/>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6637601" y="2504195"/>
        <a:ext cx="466680" cy="63850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D2951C-2705-F342-B728-27AB002C354E}">
      <dsp:nvSpPr>
        <dsp:cNvPr id="0" name=""/>
        <dsp:cNvSpPr/>
      </dsp:nvSpPr>
      <dsp:spPr>
        <a:xfrm>
          <a:off x="0" y="0"/>
          <a:ext cx="6703694" cy="130540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defRPr cap="all"/>
          </a:pPr>
          <a:r>
            <a:rPr lang="en-US" sz="2000" kern="1200"/>
            <a:t>Liam, age 5, has meltdowns when it’s time to leave speech therapy.</a:t>
          </a:r>
        </a:p>
      </dsp:txBody>
      <dsp:txXfrm>
        <a:off x="38234" y="38234"/>
        <a:ext cx="5295064" cy="1228933"/>
      </dsp:txXfrm>
    </dsp:sp>
    <dsp:sp modelId="{4CB6E2E5-0078-A041-AC1D-7B0A10C2DBE6}">
      <dsp:nvSpPr>
        <dsp:cNvPr id="0" name=""/>
        <dsp:cNvSpPr/>
      </dsp:nvSpPr>
      <dsp:spPr>
        <a:xfrm>
          <a:off x="591502" y="1522968"/>
          <a:ext cx="6703694" cy="1305401"/>
        </a:xfrm>
        <a:prstGeom prst="roundRect">
          <a:avLst>
            <a:gd name="adj" fmla="val 10000"/>
          </a:avLst>
        </a:prstGeom>
        <a:solidFill>
          <a:schemeClr val="accent2">
            <a:hueOff val="2340759"/>
            <a:satOff val="-2919"/>
            <a:lumOff val="68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defRPr cap="all"/>
          </a:pPr>
          <a:r>
            <a:rPr lang="en-US" sz="2000" kern="1200"/>
            <a:t>• How can ABA strategies (visual schedules, countdowns, reinforcement) help smooth transitions?</a:t>
          </a:r>
        </a:p>
      </dsp:txBody>
      <dsp:txXfrm>
        <a:off x="629736" y="1561202"/>
        <a:ext cx="5187213" cy="1228933"/>
      </dsp:txXfrm>
    </dsp:sp>
    <dsp:sp modelId="{E3811686-12D4-374E-ADD7-7AB0DE8FB012}">
      <dsp:nvSpPr>
        <dsp:cNvPr id="0" name=""/>
        <dsp:cNvSpPr/>
      </dsp:nvSpPr>
      <dsp:spPr>
        <a:xfrm>
          <a:off x="1183005" y="3045936"/>
          <a:ext cx="6703694" cy="1305401"/>
        </a:xfrm>
        <a:prstGeom prst="roundRect">
          <a:avLst>
            <a:gd name="adj" fmla="val 10000"/>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defRPr cap="all"/>
          </a:pPr>
          <a:r>
            <a:rPr lang="en-US" sz="2000" kern="1200"/>
            <a:t>• How can SLPs integrate communication choices into transitions (like saying 'one more minute' or 'all done')?</a:t>
          </a:r>
        </a:p>
      </dsp:txBody>
      <dsp:txXfrm>
        <a:off x="1221239" y="3084170"/>
        <a:ext cx="5187213" cy="1228933"/>
      </dsp:txXfrm>
    </dsp:sp>
    <dsp:sp modelId="{98E0AC80-F0DC-AA41-B9CE-8D866C3ED0E8}">
      <dsp:nvSpPr>
        <dsp:cNvPr id="0" name=""/>
        <dsp:cNvSpPr/>
      </dsp:nvSpPr>
      <dsp:spPr>
        <a:xfrm>
          <a:off x="5855184" y="989929"/>
          <a:ext cx="848510" cy="848510"/>
        </a:xfrm>
        <a:prstGeom prst="downArrow">
          <a:avLst>
            <a:gd name="adj1" fmla="val 55000"/>
            <a:gd name="adj2" fmla="val 45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6046099" y="989929"/>
        <a:ext cx="466680" cy="638504"/>
      </dsp:txXfrm>
    </dsp:sp>
    <dsp:sp modelId="{A81F9390-9FD9-D54F-B4C7-CE2CD20FB583}">
      <dsp:nvSpPr>
        <dsp:cNvPr id="0" name=""/>
        <dsp:cNvSpPr/>
      </dsp:nvSpPr>
      <dsp:spPr>
        <a:xfrm>
          <a:off x="6446686" y="2504195"/>
          <a:ext cx="848510" cy="848510"/>
        </a:xfrm>
        <a:prstGeom prst="downArrow">
          <a:avLst>
            <a:gd name="adj1" fmla="val 55000"/>
            <a:gd name="adj2" fmla="val 45000"/>
          </a:avLst>
        </a:prstGeom>
        <a:solidFill>
          <a:schemeClr val="accent2">
            <a:tint val="40000"/>
            <a:alpha val="90000"/>
            <a:hueOff val="5025821"/>
            <a:satOff val="-4378"/>
            <a:lumOff val="-6"/>
            <a:alphaOff val="0"/>
          </a:schemeClr>
        </a:solidFill>
        <a:ln w="25400" cap="flat" cmpd="sng" algn="ctr">
          <a:solidFill>
            <a:schemeClr val="accent2">
              <a:tint val="40000"/>
              <a:alpha val="90000"/>
              <a:hueOff val="5025821"/>
              <a:satOff val="-4378"/>
              <a:lumOff val="-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6637601" y="2504195"/>
        <a:ext cx="466680" cy="638504"/>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A05970-6190-4B44-B89F-090ACFCF363F}">
      <dsp:nvSpPr>
        <dsp:cNvPr id="0" name=""/>
        <dsp:cNvSpPr/>
      </dsp:nvSpPr>
      <dsp:spPr>
        <a:xfrm>
          <a:off x="0" y="0"/>
          <a:ext cx="6072759" cy="783457"/>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Work in small groups to combine ABA and speech goals for a single case.</a:t>
          </a:r>
        </a:p>
      </dsp:txBody>
      <dsp:txXfrm>
        <a:off x="22947" y="22947"/>
        <a:ext cx="5135681" cy="737563"/>
      </dsp:txXfrm>
    </dsp:sp>
    <dsp:sp modelId="{7E4FAD56-2E47-CD4B-B5C7-7A07960B327B}">
      <dsp:nvSpPr>
        <dsp:cNvPr id="0" name=""/>
        <dsp:cNvSpPr/>
      </dsp:nvSpPr>
      <dsp:spPr>
        <a:xfrm>
          <a:off x="453485" y="892271"/>
          <a:ext cx="6072759" cy="783457"/>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Example Goal: Teach a child to request a snack using a communication device.</a:t>
          </a:r>
          <a:endParaRPr lang="en-US" sz="2000" kern="1200" dirty="0"/>
        </a:p>
      </dsp:txBody>
      <dsp:txXfrm>
        <a:off x="476432" y="915218"/>
        <a:ext cx="5064132" cy="737563"/>
      </dsp:txXfrm>
    </dsp:sp>
    <dsp:sp modelId="{2F9BA2FA-82A9-6843-B169-DE83BA6A46EC}">
      <dsp:nvSpPr>
        <dsp:cNvPr id="0" name=""/>
        <dsp:cNvSpPr/>
      </dsp:nvSpPr>
      <dsp:spPr>
        <a:xfrm>
          <a:off x="906970" y="1784543"/>
          <a:ext cx="6072759" cy="783457"/>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 SLP: Focus on expanding vocabulary and sentence structure.</a:t>
          </a:r>
          <a:endParaRPr lang="en-US" sz="2000" kern="1200" dirty="0"/>
        </a:p>
      </dsp:txBody>
      <dsp:txXfrm>
        <a:off x="929917" y="1807490"/>
        <a:ext cx="5064132" cy="737563"/>
      </dsp:txXfrm>
    </dsp:sp>
    <dsp:sp modelId="{AC55DC14-B6F0-264D-B865-E1C477EA95FE}">
      <dsp:nvSpPr>
        <dsp:cNvPr id="0" name=""/>
        <dsp:cNvSpPr/>
      </dsp:nvSpPr>
      <dsp:spPr>
        <a:xfrm>
          <a:off x="1360455" y="2676814"/>
          <a:ext cx="6072759" cy="783457"/>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 ABA: Reinforce all attempts and fade prompts gradually.</a:t>
          </a:r>
          <a:endParaRPr lang="en-US" sz="2000" kern="1200" dirty="0"/>
        </a:p>
      </dsp:txBody>
      <dsp:txXfrm>
        <a:off x="1383402" y="2699761"/>
        <a:ext cx="5064132" cy="737563"/>
      </dsp:txXfrm>
    </dsp:sp>
    <dsp:sp modelId="{8E5236F8-1C41-2340-BC06-6B024A0C6277}">
      <dsp:nvSpPr>
        <dsp:cNvPr id="0" name=""/>
        <dsp:cNvSpPr/>
      </dsp:nvSpPr>
      <dsp:spPr>
        <a:xfrm>
          <a:off x="1813940" y="3569086"/>
          <a:ext cx="6072759" cy="783457"/>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Collaboration ensures consistency across sessions and settings.</a:t>
          </a:r>
          <a:endParaRPr lang="en-US" sz="2000" kern="1200" dirty="0"/>
        </a:p>
      </dsp:txBody>
      <dsp:txXfrm>
        <a:off x="1836887" y="3592033"/>
        <a:ext cx="5064132" cy="737563"/>
      </dsp:txXfrm>
    </dsp:sp>
    <dsp:sp modelId="{FA3EDBE8-3B2F-5144-9E02-91BD05D50643}">
      <dsp:nvSpPr>
        <dsp:cNvPr id="0" name=""/>
        <dsp:cNvSpPr/>
      </dsp:nvSpPr>
      <dsp:spPr>
        <a:xfrm>
          <a:off x="5563511" y="572359"/>
          <a:ext cx="509247" cy="509247"/>
        </a:xfrm>
        <a:prstGeom prst="downArrow">
          <a:avLst>
            <a:gd name="adj1" fmla="val 55000"/>
            <a:gd name="adj2" fmla="val 45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US" sz="2300" kern="1200"/>
        </a:p>
      </dsp:txBody>
      <dsp:txXfrm>
        <a:off x="5678092" y="572359"/>
        <a:ext cx="280085" cy="383208"/>
      </dsp:txXfrm>
    </dsp:sp>
    <dsp:sp modelId="{FCE3172B-06F7-BA43-8DD8-4699D513541C}">
      <dsp:nvSpPr>
        <dsp:cNvPr id="0" name=""/>
        <dsp:cNvSpPr/>
      </dsp:nvSpPr>
      <dsp:spPr>
        <a:xfrm>
          <a:off x="6016996" y="1464631"/>
          <a:ext cx="509247" cy="509247"/>
        </a:xfrm>
        <a:prstGeom prst="downArrow">
          <a:avLst>
            <a:gd name="adj1" fmla="val 55000"/>
            <a:gd name="adj2" fmla="val 45000"/>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US" sz="2300" kern="1200"/>
        </a:p>
      </dsp:txBody>
      <dsp:txXfrm>
        <a:off x="6131577" y="1464631"/>
        <a:ext cx="280085" cy="383208"/>
      </dsp:txXfrm>
    </dsp:sp>
    <dsp:sp modelId="{7B8A9F5D-B0E9-D048-93D9-ED3E3B10BE94}">
      <dsp:nvSpPr>
        <dsp:cNvPr id="0" name=""/>
        <dsp:cNvSpPr/>
      </dsp:nvSpPr>
      <dsp:spPr>
        <a:xfrm>
          <a:off x="6470481" y="2343844"/>
          <a:ext cx="509247" cy="509247"/>
        </a:xfrm>
        <a:prstGeom prst="downArrow">
          <a:avLst>
            <a:gd name="adj1" fmla="val 55000"/>
            <a:gd name="adj2" fmla="val 45000"/>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US" sz="2300" kern="1200"/>
        </a:p>
      </dsp:txBody>
      <dsp:txXfrm>
        <a:off x="6585062" y="2343844"/>
        <a:ext cx="280085" cy="383208"/>
      </dsp:txXfrm>
    </dsp:sp>
    <dsp:sp modelId="{5DEFB51C-6122-B946-AACF-6F5BBB0A0F5B}">
      <dsp:nvSpPr>
        <dsp:cNvPr id="0" name=""/>
        <dsp:cNvSpPr/>
      </dsp:nvSpPr>
      <dsp:spPr>
        <a:xfrm>
          <a:off x="6923967" y="3244821"/>
          <a:ext cx="509247" cy="509247"/>
        </a:xfrm>
        <a:prstGeom prst="downArrow">
          <a:avLst>
            <a:gd name="adj1" fmla="val 55000"/>
            <a:gd name="adj2" fmla="val 45000"/>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US" sz="2300" kern="1200"/>
        </a:p>
      </dsp:txBody>
      <dsp:txXfrm>
        <a:off x="7038548" y="3244821"/>
        <a:ext cx="280085" cy="38320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042EA6-826A-0042-BB30-B8942DE82D63}">
      <dsp:nvSpPr>
        <dsp:cNvPr id="0" name=""/>
        <dsp:cNvSpPr/>
      </dsp:nvSpPr>
      <dsp:spPr>
        <a:xfrm>
          <a:off x="0" y="0"/>
          <a:ext cx="6310820" cy="664092"/>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Key Takeaways:</a:t>
          </a:r>
        </a:p>
      </dsp:txBody>
      <dsp:txXfrm>
        <a:off x="19451" y="19451"/>
        <a:ext cx="5516512" cy="625190"/>
      </dsp:txXfrm>
    </dsp:sp>
    <dsp:sp modelId="{F5F5369F-46C7-724A-904E-C71D1EE13915}">
      <dsp:nvSpPr>
        <dsp:cNvPr id="0" name=""/>
        <dsp:cNvSpPr/>
      </dsp:nvSpPr>
      <dsp:spPr>
        <a:xfrm>
          <a:off x="471262" y="756328"/>
          <a:ext cx="6310820" cy="664092"/>
        </a:xfrm>
        <a:prstGeom prst="roundRect">
          <a:avLst>
            <a:gd name="adj" fmla="val 10000"/>
          </a:avLst>
        </a:prstGeom>
        <a:solidFill>
          <a:schemeClr val="accent2">
            <a:hueOff val="1170380"/>
            <a:satOff val="-1460"/>
            <a:lumOff val="34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 ABA and Speech Therapy complement each other — collaboration enhances outcomes.</a:t>
          </a:r>
          <a:endParaRPr lang="en-US" sz="1700" kern="1200" dirty="0"/>
        </a:p>
      </dsp:txBody>
      <dsp:txXfrm>
        <a:off x="490713" y="775779"/>
        <a:ext cx="5368995" cy="625190"/>
      </dsp:txXfrm>
    </dsp:sp>
    <dsp:sp modelId="{2E025550-C1DC-1848-A624-0DB915D4A227}">
      <dsp:nvSpPr>
        <dsp:cNvPr id="0" name=""/>
        <dsp:cNvSpPr/>
      </dsp:nvSpPr>
      <dsp:spPr>
        <a:xfrm>
          <a:off x="942525" y="1512656"/>
          <a:ext cx="6310820" cy="664092"/>
        </a:xfrm>
        <a:prstGeom prst="roundRect">
          <a:avLst>
            <a:gd name="adj" fmla="val 10000"/>
          </a:avLst>
        </a:prstGeom>
        <a:solidFill>
          <a:schemeClr val="accent2">
            <a:hueOff val="2340759"/>
            <a:satOff val="-2919"/>
            <a:lumOff val="68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 Clear communication between disciplines is vital.</a:t>
          </a:r>
          <a:endParaRPr lang="en-US" sz="1700" kern="1200" dirty="0"/>
        </a:p>
      </dsp:txBody>
      <dsp:txXfrm>
        <a:off x="961976" y="1532107"/>
        <a:ext cx="5368995" cy="625190"/>
      </dsp:txXfrm>
    </dsp:sp>
    <dsp:sp modelId="{D1D6640F-E6F5-584A-B3AD-33D75EA3FE92}">
      <dsp:nvSpPr>
        <dsp:cNvPr id="0" name=""/>
        <dsp:cNvSpPr/>
      </dsp:nvSpPr>
      <dsp:spPr>
        <a:xfrm>
          <a:off x="1413787" y="2268984"/>
          <a:ext cx="6310820" cy="664092"/>
        </a:xfrm>
        <a:prstGeom prst="roundRect">
          <a:avLst>
            <a:gd name="adj" fmla="val 10000"/>
          </a:avLst>
        </a:prstGeom>
        <a:solidFill>
          <a:schemeClr val="accent2">
            <a:hueOff val="3511139"/>
            <a:satOff val="-4379"/>
            <a:lumOff val="103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 Every child benefits when professionals work as one team.</a:t>
          </a:r>
          <a:endParaRPr lang="en-US" sz="1700" kern="1200" dirty="0"/>
        </a:p>
      </dsp:txBody>
      <dsp:txXfrm>
        <a:off x="1433238" y="2288435"/>
        <a:ext cx="5368995" cy="625190"/>
      </dsp:txXfrm>
    </dsp:sp>
    <dsp:sp modelId="{C909E841-5D05-DD4D-A55E-8A0400F70E00}">
      <dsp:nvSpPr>
        <dsp:cNvPr id="0" name=""/>
        <dsp:cNvSpPr/>
      </dsp:nvSpPr>
      <dsp:spPr>
        <a:xfrm>
          <a:off x="1885050" y="3025312"/>
          <a:ext cx="6310820" cy="664092"/>
        </a:xfrm>
        <a:prstGeom prst="roundRect">
          <a:avLst>
            <a:gd name="adj" fmla="val 10000"/>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Questions &amp; open discussion.</a:t>
          </a:r>
          <a:endParaRPr lang="en-US" sz="1700" kern="1200" dirty="0"/>
        </a:p>
      </dsp:txBody>
      <dsp:txXfrm>
        <a:off x="1904501" y="3044763"/>
        <a:ext cx="5368995" cy="625190"/>
      </dsp:txXfrm>
    </dsp:sp>
    <dsp:sp modelId="{9ABAFB27-DE6B-0949-8C1F-7E8806FA5FA3}">
      <dsp:nvSpPr>
        <dsp:cNvPr id="0" name=""/>
        <dsp:cNvSpPr/>
      </dsp:nvSpPr>
      <dsp:spPr>
        <a:xfrm>
          <a:off x="5879160" y="485156"/>
          <a:ext cx="431660" cy="431660"/>
        </a:xfrm>
        <a:prstGeom prst="downArrow">
          <a:avLst>
            <a:gd name="adj1" fmla="val 55000"/>
            <a:gd name="adj2" fmla="val 45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en-US" sz="1900" kern="1200"/>
        </a:p>
      </dsp:txBody>
      <dsp:txXfrm>
        <a:off x="5976283" y="485156"/>
        <a:ext cx="237414" cy="324824"/>
      </dsp:txXfrm>
    </dsp:sp>
    <dsp:sp modelId="{4C539919-74F4-AE4A-BC95-B3BD7BA31646}">
      <dsp:nvSpPr>
        <dsp:cNvPr id="0" name=""/>
        <dsp:cNvSpPr/>
      </dsp:nvSpPr>
      <dsp:spPr>
        <a:xfrm>
          <a:off x="6350422" y="1241484"/>
          <a:ext cx="431660" cy="431660"/>
        </a:xfrm>
        <a:prstGeom prst="downArrow">
          <a:avLst>
            <a:gd name="adj1" fmla="val 55000"/>
            <a:gd name="adj2" fmla="val 45000"/>
          </a:avLst>
        </a:prstGeom>
        <a:solidFill>
          <a:schemeClr val="accent2">
            <a:tint val="40000"/>
            <a:alpha val="90000"/>
            <a:hueOff val="1675274"/>
            <a:satOff val="-1459"/>
            <a:lumOff val="-2"/>
            <a:alphaOff val="0"/>
          </a:schemeClr>
        </a:solidFill>
        <a:ln w="25400" cap="flat" cmpd="sng" algn="ctr">
          <a:solidFill>
            <a:schemeClr val="accent2">
              <a:tint val="40000"/>
              <a:alpha val="90000"/>
              <a:hueOff val="1675274"/>
              <a:satOff val="-1459"/>
              <a:lumOff val="-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en-US" sz="1900" kern="1200"/>
        </a:p>
      </dsp:txBody>
      <dsp:txXfrm>
        <a:off x="6447545" y="1241484"/>
        <a:ext cx="237414" cy="324824"/>
      </dsp:txXfrm>
    </dsp:sp>
    <dsp:sp modelId="{3E1FBE14-3829-2B49-842B-E3DFE9881C87}">
      <dsp:nvSpPr>
        <dsp:cNvPr id="0" name=""/>
        <dsp:cNvSpPr/>
      </dsp:nvSpPr>
      <dsp:spPr>
        <a:xfrm>
          <a:off x="6821685" y="1986744"/>
          <a:ext cx="431660" cy="431660"/>
        </a:xfrm>
        <a:prstGeom prst="downArrow">
          <a:avLst>
            <a:gd name="adj1" fmla="val 55000"/>
            <a:gd name="adj2" fmla="val 45000"/>
          </a:avLst>
        </a:prstGeom>
        <a:solidFill>
          <a:schemeClr val="accent2">
            <a:tint val="40000"/>
            <a:alpha val="90000"/>
            <a:hueOff val="3350547"/>
            <a:satOff val="-2919"/>
            <a:lumOff val="-4"/>
            <a:alphaOff val="0"/>
          </a:schemeClr>
        </a:solidFill>
        <a:ln w="25400" cap="flat" cmpd="sng" algn="ctr">
          <a:solidFill>
            <a:schemeClr val="accent2">
              <a:tint val="40000"/>
              <a:alpha val="90000"/>
              <a:hueOff val="3350547"/>
              <a:satOff val="-2919"/>
              <a:lumOff val="-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en-US" sz="1900" kern="1200"/>
        </a:p>
      </dsp:txBody>
      <dsp:txXfrm>
        <a:off x="6918808" y="1986744"/>
        <a:ext cx="237414" cy="324824"/>
      </dsp:txXfrm>
    </dsp:sp>
    <dsp:sp modelId="{D1014043-DE2C-674B-A626-51EEFC789455}">
      <dsp:nvSpPr>
        <dsp:cNvPr id="0" name=""/>
        <dsp:cNvSpPr/>
      </dsp:nvSpPr>
      <dsp:spPr>
        <a:xfrm>
          <a:off x="7292948" y="2750451"/>
          <a:ext cx="431660" cy="431660"/>
        </a:xfrm>
        <a:prstGeom prst="downArrow">
          <a:avLst>
            <a:gd name="adj1" fmla="val 55000"/>
            <a:gd name="adj2" fmla="val 45000"/>
          </a:avLst>
        </a:prstGeom>
        <a:solidFill>
          <a:schemeClr val="accent2">
            <a:tint val="40000"/>
            <a:alpha val="90000"/>
            <a:hueOff val="5025821"/>
            <a:satOff val="-4378"/>
            <a:lumOff val="-6"/>
            <a:alphaOff val="0"/>
          </a:schemeClr>
        </a:solidFill>
        <a:ln w="25400" cap="flat" cmpd="sng" algn="ctr">
          <a:solidFill>
            <a:schemeClr val="accent2">
              <a:tint val="40000"/>
              <a:alpha val="90000"/>
              <a:hueOff val="5025821"/>
              <a:satOff val="-4378"/>
              <a:lumOff val="-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en-US" sz="1900" kern="1200"/>
        </a:p>
      </dsp:txBody>
      <dsp:txXfrm>
        <a:off x="7390071" y="2750451"/>
        <a:ext cx="237414" cy="3248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F6DD9-E1C1-0E4F-BF48-7125DEB57D23}">
      <dsp:nvSpPr>
        <dsp:cNvPr id="0" name=""/>
        <dsp:cNvSpPr/>
      </dsp:nvSpPr>
      <dsp:spPr>
        <a:xfrm>
          <a:off x="0" y="596370"/>
          <a:ext cx="5175384" cy="1044809"/>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Applied Behavior Analysis (ABA) studies why behaviors occur and how to teach meaningful new skills.</a:t>
          </a:r>
        </a:p>
      </dsp:txBody>
      <dsp:txXfrm>
        <a:off x="51003" y="647373"/>
        <a:ext cx="5073378" cy="942803"/>
      </dsp:txXfrm>
    </dsp:sp>
    <dsp:sp modelId="{7B8A2BEC-FF9E-7F40-BC37-BDD892F085B1}">
      <dsp:nvSpPr>
        <dsp:cNvPr id="0" name=""/>
        <dsp:cNvSpPr/>
      </dsp:nvSpPr>
      <dsp:spPr>
        <a:xfrm>
          <a:off x="0" y="1695900"/>
          <a:ext cx="5175384" cy="1044809"/>
        </a:xfrm>
        <a:prstGeom prst="roundRect">
          <a:avLst/>
        </a:prstGeom>
        <a:solidFill>
          <a:schemeClr val="accent2">
            <a:hueOff val="1560506"/>
            <a:satOff val="-1946"/>
            <a:lumOff val="45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 ABA is data-driven and highly individualized.</a:t>
          </a:r>
        </a:p>
      </dsp:txBody>
      <dsp:txXfrm>
        <a:off x="51003" y="1746903"/>
        <a:ext cx="5073378" cy="942803"/>
      </dsp:txXfrm>
    </dsp:sp>
    <dsp:sp modelId="{42695616-BFDE-AF46-8150-72441E7B19C3}">
      <dsp:nvSpPr>
        <dsp:cNvPr id="0" name=""/>
        <dsp:cNvSpPr/>
      </dsp:nvSpPr>
      <dsp:spPr>
        <a:xfrm>
          <a:off x="0" y="2795430"/>
          <a:ext cx="5175384" cy="1044809"/>
        </a:xfrm>
        <a:prstGeom prst="roundRect">
          <a:avLst/>
        </a:prstGeom>
        <a:solidFill>
          <a:schemeClr val="accent2">
            <a:hueOff val="3121013"/>
            <a:satOff val="-3893"/>
            <a:lumOff val="9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 In communication, ABA focuses on the function of speech — why a child communicates (requesting, refusing, gaining attention, etc.).</a:t>
          </a:r>
        </a:p>
      </dsp:txBody>
      <dsp:txXfrm>
        <a:off x="51003" y="2846433"/>
        <a:ext cx="5073378" cy="942803"/>
      </dsp:txXfrm>
    </dsp:sp>
    <dsp:sp modelId="{DCC3C9EA-9D2A-034D-B522-4FFC85D26973}">
      <dsp:nvSpPr>
        <dsp:cNvPr id="0" name=""/>
        <dsp:cNvSpPr/>
      </dsp:nvSpPr>
      <dsp:spPr>
        <a:xfrm>
          <a:off x="0" y="3894960"/>
          <a:ext cx="5175384" cy="1044809"/>
        </a:xfrm>
        <a:prstGeom prst="roundRect">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 Collaboration between ABA and Speech ensures both motivation (the WHY) and skill (the HOW) are supported.</a:t>
          </a:r>
        </a:p>
      </dsp:txBody>
      <dsp:txXfrm>
        <a:off x="51003" y="3945963"/>
        <a:ext cx="5073378" cy="9428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F3C99F-9C53-C941-9F93-DC1D920FEA51}">
      <dsp:nvSpPr>
        <dsp:cNvPr id="0" name=""/>
        <dsp:cNvSpPr/>
      </dsp:nvSpPr>
      <dsp:spPr>
        <a:xfrm>
          <a:off x="0" y="573683"/>
          <a:ext cx="2464593" cy="1478756"/>
        </a:xfrm>
        <a:prstGeom prst="rect">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Behavior is learned and can be changed</a:t>
          </a:r>
        </a:p>
      </dsp:txBody>
      <dsp:txXfrm>
        <a:off x="0" y="573683"/>
        <a:ext cx="2464593" cy="1478756"/>
      </dsp:txXfrm>
    </dsp:sp>
    <dsp:sp modelId="{757B6A4C-B1AE-AF4E-AF67-EB9DBE4282DC}">
      <dsp:nvSpPr>
        <dsp:cNvPr id="0" name=""/>
        <dsp:cNvSpPr/>
      </dsp:nvSpPr>
      <dsp:spPr>
        <a:xfrm>
          <a:off x="2711053" y="573683"/>
          <a:ext cx="2464593" cy="1478756"/>
        </a:xfrm>
        <a:prstGeom prst="rect">
          <a:avLst/>
        </a:prstGeom>
        <a:gradFill rotWithShape="0">
          <a:gsLst>
            <a:gs pos="0">
              <a:schemeClr val="accent2">
                <a:hueOff val="1170380"/>
                <a:satOff val="-1460"/>
                <a:lumOff val="343"/>
                <a:alphaOff val="0"/>
                <a:tint val="100000"/>
                <a:shade val="100000"/>
                <a:satMod val="130000"/>
              </a:schemeClr>
            </a:gs>
            <a:gs pos="100000">
              <a:schemeClr val="accent2">
                <a:hueOff val="1170380"/>
                <a:satOff val="-1460"/>
                <a:lumOff val="343"/>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Focus on measurable behaviors</a:t>
          </a:r>
        </a:p>
      </dsp:txBody>
      <dsp:txXfrm>
        <a:off x="2711053" y="573683"/>
        <a:ext cx="2464593" cy="1478756"/>
      </dsp:txXfrm>
    </dsp:sp>
    <dsp:sp modelId="{8F78DA7F-6051-C94A-98DE-6B8C1C97E876}">
      <dsp:nvSpPr>
        <dsp:cNvPr id="0" name=""/>
        <dsp:cNvSpPr/>
      </dsp:nvSpPr>
      <dsp:spPr>
        <a:xfrm>
          <a:off x="5422106" y="573683"/>
          <a:ext cx="2464593" cy="1478756"/>
        </a:xfrm>
        <a:prstGeom prst="rect">
          <a:avLst/>
        </a:prstGeom>
        <a:gradFill rotWithShape="0">
          <a:gsLst>
            <a:gs pos="0">
              <a:schemeClr val="accent2">
                <a:hueOff val="2340759"/>
                <a:satOff val="-2919"/>
                <a:lumOff val="686"/>
                <a:alphaOff val="0"/>
                <a:tint val="100000"/>
                <a:shade val="100000"/>
                <a:satMod val="130000"/>
              </a:schemeClr>
            </a:gs>
            <a:gs pos="100000">
              <a:schemeClr val="accent2">
                <a:hueOff val="2340759"/>
                <a:satOff val="-2919"/>
                <a:lumOff val="686"/>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Use of data-driven decisions</a:t>
          </a:r>
        </a:p>
      </dsp:txBody>
      <dsp:txXfrm>
        <a:off x="5422106" y="573683"/>
        <a:ext cx="2464593" cy="1478756"/>
      </dsp:txXfrm>
    </dsp:sp>
    <dsp:sp modelId="{F6ED8AE7-BD59-7943-A622-3E69B76F4BDE}">
      <dsp:nvSpPr>
        <dsp:cNvPr id="0" name=""/>
        <dsp:cNvSpPr/>
      </dsp:nvSpPr>
      <dsp:spPr>
        <a:xfrm>
          <a:off x="1355526" y="2298898"/>
          <a:ext cx="2464593" cy="1478756"/>
        </a:xfrm>
        <a:prstGeom prst="rect">
          <a:avLst/>
        </a:prstGeom>
        <a:gradFill rotWithShape="0">
          <a:gsLst>
            <a:gs pos="0">
              <a:schemeClr val="accent2">
                <a:hueOff val="3511139"/>
                <a:satOff val="-4379"/>
                <a:lumOff val="1030"/>
                <a:alphaOff val="0"/>
                <a:tint val="100000"/>
                <a:shade val="100000"/>
                <a:satMod val="130000"/>
              </a:schemeClr>
            </a:gs>
            <a:gs pos="100000">
              <a:schemeClr val="accent2">
                <a:hueOff val="3511139"/>
                <a:satOff val="-4379"/>
                <a:lumOff val="103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Individualized programs</a:t>
          </a:r>
        </a:p>
      </dsp:txBody>
      <dsp:txXfrm>
        <a:off x="1355526" y="2298898"/>
        <a:ext cx="2464593" cy="1478756"/>
      </dsp:txXfrm>
    </dsp:sp>
    <dsp:sp modelId="{49FD96F0-A5CA-E14F-B86A-2302E77556A9}">
      <dsp:nvSpPr>
        <dsp:cNvPr id="0" name=""/>
        <dsp:cNvSpPr/>
      </dsp:nvSpPr>
      <dsp:spPr>
        <a:xfrm>
          <a:off x="4066579" y="2298898"/>
          <a:ext cx="2464593" cy="1478756"/>
        </a:xfrm>
        <a:prstGeom prst="rect">
          <a:avLst/>
        </a:prstGeom>
        <a:gradFill rotWithShape="0">
          <a:gsLst>
            <a:gs pos="0">
              <a:schemeClr val="accent2">
                <a:hueOff val="4681519"/>
                <a:satOff val="-5839"/>
                <a:lumOff val="1373"/>
                <a:alphaOff val="0"/>
                <a:tint val="100000"/>
                <a:shade val="100000"/>
                <a:satMod val="130000"/>
              </a:schemeClr>
            </a:gs>
            <a:gs pos="100000">
              <a:schemeClr val="accent2">
                <a:hueOff val="4681519"/>
                <a:satOff val="-5839"/>
                <a:lumOff val="1373"/>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Reinforcement is key</a:t>
          </a:r>
        </a:p>
      </dsp:txBody>
      <dsp:txXfrm>
        <a:off x="4066579" y="2298898"/>
        <a:ext cx="2464593" cy="147875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C9F735-B220-6E4C-9AFF-FD8B8D3507AA}">
      <dsp:nvSpPr>
        <dsp:cNvPr id="0" name=""/>
        <dsp:cNvSpPr/>
      </dsp:nvSpPr>
      <dsp:spPr>
        <a:xfrm>
          <a:off x="0" y="0"/>
          <a:ext cx="6703694" cy="1305401"/>
        </a:xfrm>
        <a:prstGeom prst="roundRect">
          <a:avLst>
            <a:gd name="adj" fmla="val 10000"/>
          </a:avLst>
        </a:prstGeom>
        <a:solidFill>
          <a:schemeClr val="accent5">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US" sz="3400" kern="1200" dirty="0"/>
            <a:t>ABA forces autistic children to act “neurotypical”</a:t>
          </a:r>
        </a:p>
      </dsp:txBody>
      <dsp:txXfrm>
        <a:off x="38234" y="38234"/>
        <a:ext cx="5295064" cy="1228933"/>
      </dsp:txXfrm>
    </dsp:sp>
    <dsp:sp modelId="{7F69D05C-9533-394D-9A45-B7629478D509}">
      <dsp:nvSpPr>
        <dsp:cNvPr id="0" name=""/>
        <dsp:cNvSpPr/>
      </dsp:nvSpPr>
      <dsp:spPr>
        <a:xfrm>
          <a:off x="591502" y="1522968"/>
          <a:ext cx="6703694" cy="1305401"/>
        </a:xfrm>
        <a:prstGeom prst="roundRect">
          <a:avLst>
            <a:gd name="adj" fmla="val 10000"/>
          </a:avLst>
        </a:prstGeom>
        <a:solidFill>
          <a:schemeClr val="accent5">
            <a:hueOff val="-4966938"/>
            <a:satOff val="19906"/>
            <a:lumOff val="4314"/>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US" sz="3400" kern="1200" dirty="0"/>
            <a:t>It’s just bribing kids with candy and toys.</a:t>
          </a:r>
        </a:p>
      </dsp:txBody>
      <dsp:txXfrm>
        <a:off x="629736" y="1561202"/>
        <a:ext cx="5187213" cy="1228933"/>
      </dsp:txXfrm>
    </dsp:sp>
    <dsp:sp modelId="{CDEC3967-AF3B-D444-AAFE-9149AE642972}">
      <dsp:nvSpPr>
        <dsp:cNvPr id="0" name=""/>
        <dsp:cNvSpPr/>
      </dsp:nvSpPr>
      <dsp:spPr>
        <a:xfrm>
          <a:off x="1183005" y="3045936"/>
          <a:ext cx="6703694" cy="1305401"/>
        </a:xfrm>
        <a:prstGeom prst="roundRect">
          <a:avLst>
            <a:gd name="adj" fmla="val 10000"/>
          </a:avLst>
        </a:prstGeom>
        <a:solidFill>
          <a:schemeClr val="accent5">
            <a:hueOff val="-9933876"/>
            <a:satOff val="39811"/>
            <a:lumOff val="8628"/>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US" sz="3400" kern="1200" dirty="0"/>
            <a:t>ABA only focuses on stopping “bad behaviors”</a:t>
          </a:r>
        </a:p>
      </dsp:txBody>
      <dsp:txXfrm>
        <a:off x="1221239" y="3084170"/>
        <a:ext cx="5187213" cy="1228933"/>
      </dsp:txXfrm>
    </dsp:sp>
    <dsp:sp modelId="{BD4FDA7C-28B6-8C44-9AB9-34AB24464E83}">
      <dsp:nvSpPr>
        <dsp:cNvPr id="0" name=""/>
        <dsp:cNvSpPr/>
      </dsp:nvSpPr>
      <dsp:spPr>
        <a:xfrm>
          <a:off x="5855184" y="989929"/>
          <a:ext cx="848510" cy="848510"/>
        </a:xfrm>
        <a:prstGeom prst="downArrow">
          <a:avLst>
            <a:gd name="adj1" fmla="val 55000"/>
            <a:gd name="adj2" fmla="val 45000"/>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6046099" y="989929"/>
        <a:ext cx="466680" cy="638504"/>
      </dsp:txXfrm>
    </dsp:sp>
    <dsp:sp modelId="{FD7480E6-20B5-784D-BB31-83D9353E8B50}">
      <dsp:nvSpPr>
        <dsp:cNvPr id="0" name=""/>
        <dsp:cNvSpPr/>
      </dsp:nvSpPr>
      <dsp:spPr>
        <a:xfrm>
          <a:off x="6446686" y="2504195"/>
          <a:ext cx="848510" cy="848510"/>
        </a:xfrm>
        <a:prstGeom prst="downArrow">
          <a:avLst>
            <a:gd name="adj1" fmla="val 55000"/>
            <a:gd name="adj2" fmla="val 45000"/>
          </a:avLst>
        </a:prstGeom>
        <a:solidFill>
          <a:schemeClr val="accent5">
            <a:tint val="40000"/>
            <a:alpha val="90000"/>
            <a:hueOff val="-10740482"/>
            <a:satOff val="48253"/>
            <a:lumOff val="3317"/>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6637601" y="2504195"/>
        <a:ext cx="466680" cy="63850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89EB21-AC1F-904C-A7ED-2C7F81EF4A5D}">
      <dsp:nvSpPr>
        <dsp:cNvPr id="0" name=""/>
        <dsp:cNvSpPr/>
      </dsp:nvSpPr>
      <dsp:spPr>
        <a:xfrm>
          <a:off x="0" y="657613"/>
          <a:ext cx="8378397" cy="43173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Speech therapy focuses on language structure, articulation, and communication goals.</a:t>
          </a:r>
        </a:p>
      </dsp:txBody>
      <dsp:txXfrm>
        <a:off x="21075" y="678688"/>
        <a:ext cx="8336247" cy="389580"/>
      </dsp:txXfrm>
    </dsp:sp>
    <dsp:sp modelId="{49352BC4-A7E1-094A-80D2-1C4004F61BA4}">
      <dsp:nvSpPr>
        <dsp:cNvPr id="0" name=""/>
        <dsp:cNvSpPr/>
      </dsp:nvSpPr>
      <dsp:spPr>
        <a:xfrm>
          <a:off x="0" y="1141183"/>
          <a:ext cx="8378397" cy="431730"/>
        </a:xfrm>
        <a:prstGeom prst="roundRect">
          <a:avLst/>
        </a:prstGeom>
        <a:solidFill>
          <a:schemeClr val="accent5">
            <a:hueOff val="-1986775"/>
            <a:satOff val="7962"/>
            <a:lumOff val="1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ABA focuses on how to teach and motivate learning behaviors.</a:t>
          </a:r>
          <a:endParaRPr lang="en-US" sz="1800" kern="1200" dirty="0"/>
        </a:p>
      </dsp:txBody>
      <dsp:txXfrm>
        <a:off x="21075" y="1162258"/>
        <a:ext cx="8336247" cy="389580"/>
      </dsp:txXfrm>
    </dsp:sp>
    <dsp:sp modelId="{ADC6C1C1-18C9-C54E-972B-DCDCF286C846}">
      <dsp:nvSpPr>
        <dsp:cNvPr id="0" name=""/>
        <dsp:cNvSpPr/>
      </dsp:nvSpPr>
      <dsp:spPr>
        <a:xfrm>
          <a:off x="0" y="1588954"/>
          <a:ext cx="8378397" cy="431730"/>
        </a:xfrm>
        <a:prstGeom prst="roundRect">
          <a:avLst/>
        </a:prstGeom>
        <a:solidFill>
          <a:schemeClr val="accent5">
            <a:hueOff val="-3973551"/>
            <a:satOff val="15924"/>
            <a:lumOff val="3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They essentially “complete each other” and ensure the client is learning effectively.</a:t>
          </a:r>
        </a:p>
      </dsp:txBody>
      <dsp:txXfrm>
        <a:off x="21075" y="1610029"/>
        <a:ext cx="8336247" cy="389580"/>
      </dsp:txXfrm>
    </dsp:sp>
    <dsp:sp modelId="{FE097D22-378D-E44E-ADA5-7205E34C3E8C}">
      <dsp:nvSpPr>
        <dsp:cNvPr id="0" name=""/>
        <dsp:cNvSpPr/>
      </dsp:nvSpPr>
      <dsp:spPr>
        <a:xfrm>
          <a:off x="0" y="2108323"/>
          <a:ext cx="8378397" cy="431730"/>
        </a:xfrm>
        <a:prstGeom prst="roundRect">
          <a:avLst/>
        </a:prstGeom>
        <a:solidFill>
          <a:schemeClr val="accent5">
            <a:hueOff val="-5960326"/>
            <a:satOff val="23887"/>
            <a:lumOff val="5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 ABA helps children learn the 'how'.</a:t>
          </a:r>
        </a:p>
      </dsp:txBody>
      <dsp:txXfrm>
        <a:off x="21075" y="2129398"/>
        <a:ext cx="8336247" cy="389580"/>
      </dsp:txXfrm>
    </dsp:sp>
    <dsp:sp modelId="{754EB034-392A-3645-983F-D69E6EBF9DA7}">
      <dsp:nvSpPr>
        <dsp:cNvPr id="0" name=""/>
        <dsp:cNvSpPr/>
      </dsp:nvSpPr>
      <dsp:spPr>
        <a:xfrm>
          <a:off x="0" y="2591893"/>
          <a:ext cx="8378397" cy="431730"/>
        </a:xfrm>
        <a:prstGeom prst="roundRect">
          <a:avLst/>
        </a:prstGeom>
        <a:solidFill>
          <a:schemeClr val="accent5">
            <a:hueOff val="-7947101"/>
            <a:satOff val="31849"/>
            <a:lumOff val="690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 Speech therapy helps children learn the 'what'.</a:t>
          </a:r>
          <a:endParaRPr lang="en-US" sz="1800" kern="1200" dirty="0"/>
        </a:p>
      </dsp:txBody>
      <dsp:txXfrm>
        <a:off x="21075" y="2612968"/>
        <a:ext cx="8336247" cy="389580"/>
      </dsp:txXfrm>
    </dsp:sp>
    <dsp:sp modelId="{4685435F-6A07-B243-826A-1F71167EE67D}">
      <dsp:nvSpPr>
        <dsp:cNvPr id="0" name=""/>
        <dsp:cNvSpPr/>
      </dsp:nvSpPr>
      <dsp:spPr>
        <a:xfrm>
          <a:off x="0" y="3075463"/>
          <a:ext cx="8378397" cy="431730"/>
        </a:xfrm>
        <a:prstGeom prst="roundRect">
          <a:avLst/>
        </a:prstGeom>
        <a:solidFill>
          <a:schemeClr val="accent5">
            <a:hueOff val="-9933876"/>
            <a:satOff val="39811"/>
            <a:lumOff val="86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Collaboration ensures skills are both learned and generalized across environments.</a:t>
          </a:r>
          <a:endParaRPr lang="en-US" sz="1800" kern="1200" dirty="0"/>
        </a:p>
      </dsp:txBody>
      <dsp:txXfrm>
        <a:off x="21075" y="3096538"/>
        <a:ext cx="8336247" cy="38958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F82A7F-F976-174B-9F9A-EEC25AAB3D8C}">
      <dsp:nvSpPr>
        <dsp:cNvPr id="0" name=""/>
        <dsp:cNvSpPr/>
      </dsp:nvSpPr>
      <dsp:spPr>
        <a:xfrm>
          <a:off x="3847" y="1912"/>
          <a:ext cx="7879004" cy="836060"/>
        </a:xfrm>
        <a:prstGeom prst="roundRect">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r>
            <a:rPr lang="en-US" sz="2300" kern="1200" dirty="0"/>
            <a:t>• Pairing and Building Rapport: Make sessions enjoyable so the child associates learning with positive experiences.</a:t>
          </a:r>
        </a:p>
      </dsp:txBody>
      <dsp:txXfrm>
        <a:off x="44660" y="42725"/>
        <a:ext cx="7797378" cy="754434"/>
      </dsp:txXfrm>
    </dsp:sp>
    <dsp:sp modelId="{F117537F-3E33-0245-AA1F-168773C63DE8}">
      <dsp:nvSpPr>
        <dsp:cNvPr id="0" name=""/>
        <dsp:cNvSpPr/>
      </dsp:nvSpPr>
      <dsp:spPr>
        <a:xfrm>
          <a:off x="3847" y="879775"/>
          <a:ext cx="7879004" cy="836060"/>
        </a:xfrm>
        <a:prstGeom prst="roundRect">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r>
            <a:rPr lang="en-US" sz="2300" kern="1200" dirty="0"/>
            <a:t>• Prompting Hierarchies: Gradually reduce assistance (physical → visual → verbal → independent).</a:t>
          </a:r>
        </a:p>
      </dsp:txBody>
      <dsp:txXfrm>
        <a:off x="44660" y="920588"/>
        <a:ext cx="7797378" cy="754434"/>
      </dsp:txXfrm>
    </dsp:sp>
    <dsp:sp modelId="{A38CDEA2-4B92-D84F-B976-4D2B6D1AFAFE}">
      <dsp:nvSpPr>
        <dsp:cNvPr id="0" name=""/>
        <dsp:cNvSpPr/>
      </dsp:nvSpPr>
      <dsp:spPr>
        <a:xfrm>
          <a:off x="3847" y="1757638"/>
          <a:ext cx="7879004" cy="836060"/>
        </a:xfrm>
        <a:prstGeom prst="roundRect">
          <a:avLst/>
        </a:prstGeom>
        <a:gradFill rotWithShape="0">
          <a:gsLst>
            <a:gs pos="0">
              <a:schemeClr val="accent4">
                <a:hueOff val="0"/>
                <a:satOff val="0"/>
                <a:lumOff val="0"/>
                <a:alphaOff val="0"/>
                <a:tint val="100000"/>
                <a:shade val="100000"/>
                <a:satMod val="130000"/>
              </a:schemeClr>
            </a:gs>
            <a:gs pos="100000">
              <a:schemeClr val="accent4">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r>
            <a:rPr lang="en-US" sz="2300" kern="1200" dirty="0"/>
            <a:t>• Reinforcement: Use meaningful motivators (praise, play, favorite activities).</a:t>
          </a:r>
        </a:p>
      </dsp:txBody>
      <dsp:txXfrm>
        <a:off x="44660" y="1798451"/>
        <a:ext cx="7797378" cy="754434"/>
      </dsp:txXfrm>
    </dsp:sp>
    <dsp:sp modelId="{E1BC51A0-6E49-CF4D-8C16-59D1EB3A84AE}">
      <dsp:nvSpPr>
        <dsp:cNvPr id="0" name=""/>
        <dsp:cNvSpPr/>
      </dsp:nvSpPr>
      <dsp:spPr>
        <a:xfrm>
          <a:off x="3847" y="2635502"/>
          <a:ext cx="7879004" cy="836060"/>
        </a:xfrm>
        <a:prstGeom prst="roundRect">
          <a:avLst/>
        </a:prstGeom>
        <a:gradFill rotWithShape="0">
          <a:gsLst>
            <a:gs pos="0">
              <a:schemeClr val="accent5">
                <a:hueOff val="0"/>
                <a:satOff val="0"/>
                <a:lumOff val="0"/>
                <a:alphaOff val="0"/>
                <a:tint val="100000"/>
                <a:shade val="100000"/>
                <a:satMod val="130000"/>
              </a:schemeClr>
            </a:gs>
            <a:gs pos="100000">
              <a:schemeClr val="accent5">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r>
            <a:rPr lang="en-US" sz="2300" kern="1200" dirty="0"/>
            <a:t>• Shaping: Break down communication into small, teachable steps.</a:t>
          </a:r>
        </a:p>
      </dsp:txBody>
      <dsp:txXfrm>
        <a:off x="44660" y="2676315"/>
        <a:ext cx="7797378" cy="754434"/>
      </dsp:txXfrm>
    </dsp:sp>
    <dsp:sp modelId="{4E483A2C-9283-9748-B8BC-BE7C969AFEBA}">
      <dsp:nvSpPr>
        <dsp:cNvPr id="0" name=""/>
        <dsp:cNvSpPr/>
      </dsp:nvSpPr>
      <dsp:spPr>
        <a:xfrm>
          <a:off x="3847" y="3513365"/>
          <a:ext cx="7879004" cy="836060"/>
        </a:xfrm>
        <a:prstGeom prst="roundRect">
          <a:avLst/>
        </a:prstGeom>
        <a:gradFill rotWithShape="0">
          <a:gsLst>
            <a:gs pos="0">
              <a:schemeClr val="accent6">
                <a:hueOff val="0"/>
                <a:satOff val="0"/>
                <a:lumOff val="0"/>
                <a:alphaOff val="0"/>
                <a:tint val="100000"/>
                <a:shade val="100000"/>
                <a:satMod val="130000"/>
              </a:schemeClr>
            </a:gs>
            <a:gs pos="100000">
              <a:schemeClr val="accent6">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r>
            <a:rPr lang="en-US" sz="2300" kern="1200" dirty="0"/>
            <a:t>• Data Collection: Track progress to understand what’s working and adjust teaching methods.</a:t>
          </a:r>
        </a:p>
      </dsp:txBody>
      <dsp:txXfrm>
        <a:off x="44660" y="3554178"/>
        <a:ext cx="7797378" cy="75443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7CE551-B58C-2B45-BE82-7F547669498D}">
      <dsp:nvSpPr>
        <dsp:cNvPr id="0" name=""/>
        <dsp:cNvSpPr/>
      </dsp:nvSpPr>
      <dsp:spPr>
        <a:xfrm>
          <a:off x="608" y="294514"/>
          <a:ext cx="2374867" cy="1424920"/>
        </a:xfrm>
        <a:prstGeom prst="rect">
          <a:avLst/>
        </a:prstGeom>
        <a:solidFill>
          <a:schemeClr val="accent2">
            <a:hueOff val="0"/>
            <a:satOff val="0"/>
            <a:lumOff val="0"/>
            <a:alphaOff val="0"/>
          </a:schemeClr>
        </a:solidFill>
        <a:ln w="25400"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 Align ABA programs with speech goals to create consistency.</a:t>
          </a:r>
        </a:p>
      </dsp:txBody>
      <dsp:txXfrm>
        <a:off x="608" y="294514"/>
        <a:ext cx="2374867" cy="1424920"/>
      </dsp:txXfrm>
    </dsp:sp>
    <dsp:sp modelId="{A3768C3A-E078-ED40-BE5C-A1144B22CEEC}">
      <dsp:nvSpPr>
        <dsp:cNvPr id="0" name=""/>
        <dsp:cNvSpPr/>
      </dsp:nvSpPr>
      <dsp:spPr>
        <a:xfrm>
          <a:off x="2612963" y="294514"/>
          <a:ext cx="2374867" cy="1424920"/>
        </a:xfrm>
        <a:prstGeom prst="rect">
          <a:avLst/>
        </a:prstGeom>
        <a:solidFill>
          <a:schemeClr val="accent3">
            <a:hueOff val="0"/>
            <a:satOff val="0"/>
            <a:lumOff val="0"/>
            <a:alphaOff val="0"/>
          </a:schemeClr>
        </a:solidFill>
        <a:ln w="25400"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 Communicate regularly between teams and share data (within HIPAA guidelines/parental consent)</a:t>
          </a:r>
        </a:p>
      </dsp:txBody>
      <dsp:txXfrm>
        <a:off x="2612963" y="294514"/>
        <a:ext cx="2374867" cy="1424920"/>
      </dsp:txXfrm>
    </dsp:sp>
    <dsp:sp modelId="{2F973DEA-3ECA-5341-80D2-7E306470DC79}">
      <dsp:nvSpPr>
        <dsp:cNvPr id="0" name=""/>
        <dsp:cNvSpPr/>
      </dsp:nvSpPr>
      <dsp:spPr>
        <a:xfrm>
          <a:off x="608" y="1956921"/>
          <a:ext cx="2374867" cy="1424920"/>
        </a:xfrm>
        <a:prstGeom prst="rect">
          <a:avLst/>
        </a:prstGeom>
        <a:solidFill>
          <a:schemeClr val="accent4">
            <a:hueOff val="0"/>
            <a:satOff val="0"/>
            <a:lumOff val="0"/>
            <a:alphaOff val="0"/>
          </a:schemeClr>
        </a:solidFill>
        <a:ln w="25400"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 Focus on progress, not perfection, celebrate small wins.</a:t>
          </a:r>
        </a:p>
      </dsp:txBody>
      <dsp:txXfrm>
        <a:off x="608" y="1956921"/>
        <a:ext cx="2374867" cy="1424920"/>
      </dsp:txXfrm>
    </dsp:sp>
    <dsp:sp modelId="{3052CB2F-8CDA-284A-835C-35BFF7122A23}">
      <dsp:nvSpPr>
        <dsp:cNvPr id="0" name=""/>
        <dsp:cNvSpPr/>
      </dsp:nvSpPr>
      <dsp:spPr>
        <a:xfrm>
          <a:off x="2612963" y="1956921"/>
          <a:ext cx="2374867" cy="1424920"/>
        </a:xfrm>
        <a:prstGeom prst="rect">
          <a:avLst/>
        </a:prstGeom>
        <a:solidFill>
          <a:schemeClr val="accent5">
            <a:hueOff val="0"/>
            <a:satOff val="0"/>
            <a:lumOff val="0"/>
            <a:alphaOff val="0"/>
          </a:schemeClr>
        </a:solidFill>
        <a:ln w="25400"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 Collaboration isn’t about whose method works best, but what helps the child progress.</a:t>
          </a:r>
        </a:p>
      </dsp:txBody>
      <dsp:txXfrm>
        <a:off x="2612963" y="1956921"/>
        <a:ext cx="2374867" cy="1424920"/>
      </dsp:txXfrm>
    </dsp:sp>
    <dsp:sp modelId="{C84A573B-0238-454E-928D-5C4843EDEB85}">
      <dsp:nvSpPr>
        <dsp:cNvPr id="0" name=""/>
        <dsp:cNvSpPr/>
      </dsp:nvSpPr>
      <dsp:spPr>
        <a:xfrm>
          <a:off x="1306786" y="3619329"/>
          <a:ext cx="2374867" cy="1424920"/>
        </a:xfrm>
        <a:prstGeom prst="rect">
          <a:avLst/>
        </a:prstGeom>
        <a:solidFill>
          <a:schemeClr val="accent6">
            <a:hueOff val="0"/>
            <a:satOff val="0"/>
            <a:lumOff val="0"/>
            <a:alphaOff val="0"/>
          </a:schemeClr>
        </a:solidFill>
        <a:ln w="25400"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 Blend natural play with structured teaching to meet both therapeutic goals.</a:t>
          </a:r>
          <a:endParaRPr lang="en-US" sz="1700" kern="1200" dirty="0"/>
        </a:p>
      </dsp:txBody>
      <dsp:txXfrm>
        <a:off x="1306786" y="3619329"/>
        <a:ext cx="2374867" cy="142492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E00448-8891-4141-A430-2320CBA7F663}">
      <dsp:nvSpPr>
        <dsp:cNvPr id="0" name=""/>
        <dsp:cNvSpPr/>
      </dsp:nvSpPr>
      <dsp:spPr>
        <a:xfrm>
          <a:off x="0" y="41544"/>
          <a:ext cx="7886700" cy="137475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defRPr cap="all"/>
          </a:pPr>
          <a:r>
            <a:rPr lang="en-US" sz="2500" kern="1200"/>
            <a:t>Emma, age 6, is autistic and nonverbal. You encourage her to use her speech device, but she pushes it away</a:t>
          </a:r>
        </a:p>
      </dsp:txBody>
      <dsp:txXfrm>
        <a:off x="67110" y="108654"/>
        <a:ext cx="7752480" cy="1240530"/>
      </dsp:txXfrm>
    </dsp:sp>
    <dsp:sp modelId="{C1FD1E72-944E-A74A-8E96-E01643E6F235}">
      <dsp:nvSpPr>
        <dsp:cNvPr id="0" name=""/>
        <dsp:cNvSpPr/>
      </dsp:nvSpPr>
      <dsp:spPr>
        <a:xfrm>
          <a:off x="0" y="1488294"/>
          <a:ext cx="7886700" cy="137475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defRPr cap="all"/>
          </a:pPr>
          <a:r>
            <a:rPr lang="en-US" sz="2500" kern="1200" dirty="0"/>
            <a:t>• What ABA strategies could help (pairing the device with preferred items, shaping small steps)?</a:t>
          </a:r>
        </a:p>
      </dsp:txBody>
      <dsp:txXfrm>
        <a:off x="67110" y="1555404"/>
        <a:ext cx="7752480" cy="1240530"/>
      </dsp:txXfrm>
    </dsp:sp>
    <dsp:sp modelId="{7183C19E-2412-A942-9F4F-62DF47CFAAD9}">
      <dsp:nvSpPr>
        <dsp:cNvPr id="0" name=""/>
        <dsp:cNvSpPr/>
      </dsp:nvSpPr>
      <dsp:spPr>
        <a:xfrm>
          <a:off x="0" y="2935044"/>
          <a:ext cx="7886700" cy="137475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defRPr cap="all"/>
          </a:pPr>
          <a:r>
            <a:rPr lang="en-US" sz="2500" kern="1200" dirty="0"/>
            <a:t>• How can the SLP and BCBA collaborate to make the device more motivating for Emma?</a:t>
          </a:r>
        </a:p>
      </dsp:txBody>
      <dsp:txXfrm>
        <a:off x="67110" y="3002154"/>
        <a:ext cx="7752480" cy="124053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02E894-EB6F-3447-9E47-402C0DCCCCC6}">
      <dsp:nvSpPr>
        <dsp:cNvPr id="0" name=""/>
        <dsp:cNvSpPr/>
      </dsp:nvSpPr>
      <dsp:spPr>
        <a:xfrm>
          <a:off x="3847" y="2177"/>
          <a:ext cx="7879004" cy="1047465"/>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marL="0" lvl="0" indent="0" algn="ctr" defTabSz="933450">
            <a:lnSpc>
              <a:spcPct val="90000"/>
            </a:lnSpc>
            <a:spcBef>
              <a:spcPct val="0"/>
            </a:spcBef>
            <a:spcAft>
              <a:spcPct val="35000"/>
            </a:spcAft>
            <a:buNone/>
            <a:defRPr cap="all"/>
          </a:pPr>
          <a:r>
            <a:rPr lang="en-US" sz="2100" kern="1200" dirty="0"/>
            <a:t>Jayden, age 8, is verbal but limited. During speech drills, he screams and throws materials when asked to respond.</a:t>
          </a:r>
        </a:p>
      </dsp:txBody>
      <dsp:txXfrm>
        <a:off x="54980" y="53310"/>
        <a:ext cx="7776738" cy="945199"/>
      </dsp:txXfrm>
    </dsp:sp>
    <dsp:sp modelId="{7B03185B-9002-2946-8FFC-DD011E554D3A}">
      <dsp:nvSpPr>
        <dsp:cNvPr id="0" name=""/>
        <dsp:cNvSpPr/>
      </dsp:nvSpPr>
      <dsp:spPr>
        <a:xfrm>
          <a:off x="3847" y="1102016"/>
          <a:ext cx="7879004" cy="1047465"/>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marL="0" lvl="0" indent="0" algn="ctr" defTabSz="933450">
            <a:lnSpc>
              <a:spcPct val="90000"/>
            </a:lnSpc>
            <a:spcBef>
              <a:spcPct val="0"/>
            </a:spcBef>
            <a:spcAft>
              <a:spcPct val="35000"/>
            </a:spcAft>
            <a:buNone/>
            <a:defRPr cap="all"/>
          </a:pPr>
          <a:r>
            <a:rPr lang="en-US" sz="2100" kern="1200" dirty="0"/>
            <a:t>• What might be the function of this behavior (escape, attention)?</a:t>
          </a:r>
        </a:p>
      </dsp:txBody>
      <dsp:txXfrm>
        <a:off x="54980" y="1153149"/>
        <a:ext cx="7776738" cy="945199"/>
      </dsp:txXfrm>
    </dsp:sp>
    <dsp:sp modelId="{99576502-94DD-1647-AF31-66BA367AF8CB}">
      <dsp:nvSpPr>
        <dsp:cNvPr id="0" name=""/>
        <dsp:cNvSpPr/>
      </dsp:nvSpPr>
      <dsp:spPr>
        <a:xfrm>
          <a:off x="3847" y="2201855"/>
          <a:ext cx="7879004" cy="1047465"/>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marL="0" lvl="0" indent="0" algn="ctr" defTabSz="933450">
            <a:lnSpc>
              <a:spcPct val="90000"/>
            </a:lnSpc>
            <a:spcBef>
              <a:spcPct val="0"/>
            </a:spcBef>
            <a:spcAft>
              <a:spcPct val="35000"/>
            </a:spcAft>
            <a:buNone/>
            <a:defRPr cap="all"/>
          </a:pPr>
          <a:r>
            <a:rPr lang="en-US" sz="2100" kern="1200"/>
            <a:t>• How can ABA’s behavior analysis guide intervention?</a:t>
          </a:r>
        </a:p>
      </dsp:txBody>
      <dsp:txXfrm>
        <a:off x="54980" y="2252988"/>
        <a:ext cx="7776738" cy="945199"/>
      </dsp:txXfrm>
    </dsp:sp>
    <dsp:sp modelId="{1CA4ABE4-AD78-9E4D-B06B-AF02A3E97D2D}">
      <dsp:nvSpPr>
        <dsp:cNvPr id="0" name=""/>
        <dsp:cNvSpPr/>
      </dsp:nvSpPr>
      <dsp:spPr>
        <a:xfrm>
          <a:off x="3847" y="3301694"/>
          <a:ext cx="7879004" cy="104746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marL="0" lvl="0" indent="0" algn="ctr" defTabSz="933450">
            <a:lnSpc>
              <a:spcPct val="90000"/>
            </a:lnSpc>
            <a:spcBef>
              <a:spcPct val="0"/>
            </a:spcBef>
            <a:spcAft>
              <a:spcPct val="35000"/>
            </a:spcAft>
            <a:buNone/>
            <a:defRPr cap="all"/>
          </a:pPr>
          <a:r>
            <a:rPr lang="en-US" sz="2100" kern="1200" dirty="0"/>
            <a:t>• How can the SLP modify the activity to reduce frustration?</a:t>
          </a:r>
        </a:p>
      </dsp:txBody>
      <dsp:txXfrm>
        <a:off x="54980" y="3352827"/>
        <a:ext cx="7776738" cy="945199"/>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B1FE6CC-6CC9-CB41-A239-B3A95445BC79}" type="datetimeFigureOut">
              <a:rPr lang="en-US" smtClean="0"/>
              <a:t>10/23/2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FDE5F0-B39E-254D-8B48-760A17EABDF4}" type="slidenum">
              <a:rPr lang="en-US" smtClean="0"/>
              <a:t>‹#›</a:t>
            </a:fld>
            <a:endParaRPr lang="en-US"/>
          </a:p>
        </p:txBody>
      </p:sp>
    </p:spTree>
    <p:extLst>
      <p:ext uri="{BB962C8B-B14F-4D97-AF65-F5344CB8AC3E}">
        <p14:creationId xmlns:p14="http://schemas.microsoft.com/office/powerpoint/2010/main" val="39682856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redit picture : </a:t>
            </a:r>
            <a:br>
              <a:rPr lang="en-US" dirty="0"/>
            </a:br>
            <a:r>
              <a:rPr lang="en-US" b="1" dirty="0" err="1"/>
              <a:t>Unsplash</a:t>
            </a:r>
            <a:r>
              <a:rPr lang="en-US" b="1" dirty="0"/>
              <a:t> </a:t>
            </a:r>
          </a:p>
          <a:p>
            <a:endParaRPr lang="en-US" dirty="0"/>
          </a:p>
        </p:txBody>
      </p:sp>
      <p:sp>
        <p:nvSpPr>
          <p:cNvPr id="4" name="Slide Number Placeholder 3"/>
          <p:cNvSpPr>
            <a:spLocks noGrp="1"/>
          </p:cNvSpPr>
          <p:nvPr>
            <p:ph type="sldNum" sz="quarter" idx="5"/>
          </p:nvPr>
        </p:nvSpPr>
        <p:spPr/>
        <p:txBody>
          <a:bodyPr/>
          <a:lstStyle/>
          <a:p>
            <a:fld id="{AED6EB05-6E6F-4A08-B64C-1345309C042B}" type="slidenum">
              <a:rPr lang="en-US" smtClean="0"/>
              <a:t>1</a:t>
            </a:fld>
            <a:endParaRPr lang="en-US"/>
          </a:p>
        </p:txBody>
      </p:sp>
    </p:spTree>
    <p:extLst>
      <p:ext uri="{BB962C8B-B14F-4D97-AF65-F5344CB8AC3E}">
        <p14:creationId xmlns:p14="http://schemas.microsoft.com/office/powerpoint/2010/main" val="32363198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redit picture : </a:t>
            </a:r>
            <a:br>
              <a:rPr lang="en-US" dirty="0"/>
            </a:br>
            <a:r>
              <a:rPr lang="en-US" b="1" dirty="0" err="1"/>
              <a:t>Unsplash</a:t>
            </a:r>
            <a:r>
              <a:rPr lang="en-US" b="1" dirty="0"/>
              <a:t> </a:t>
            </a:r>
          </a:p>
          <a:p>
            <a:endParaRPr lang="en-US" dirty="0"/>
          </a:p>
        </p:txBody>
      </p:sp>
      <p:sp>
        <p:nvSpPr>
          <p:cNvPr id="4" name="Slide Number Placeholder 3"/>
          <p:cNvSpPr>
            <a:spLocks noGrp="1"/>
          </p:cNvSpPr>
          <p:nvPr>
            <p:ph type="sldNum" sz="quarter" idx="5"/>
          </p:nvPr>
        </p:nvSpPr>
        <p:spPr/>
        <p:txBody>
          <a:bodyPr/>
          <a:lstStyle/>
          <a:p>
            <a:fld id="{AED6EB05-6E6F-4A08-B64C-1345309C042B}" type="slidenum">
              <a:rPr lang="en-US" smtClean="0"/>
              <a:t>2</a:t>
            </a:fld>
            <a:endParaRPr lang="en-US"/>
          </a:p>
        </p:txBody>
      </p:sp>
    </p:spTree>
    <p:extLst>
      <p:ext uri="{BB962C8B-B14F-4D97-AF65-F5344CB8AC3E}">
        <p14:creationId xmlns:p14="http://schemas.microsoft.com/office/powerpoint/2010/main" val="10459777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redit picture : </a:t>
            </a:r>
            <a:br>
              <a:rPr lang="en-US" dirty="0"/>
            </a:br>
            <a:r>
              <a:rPr lang="en-US" b="1" dirty="0" err="1"/>
              <a:t>Unsplash</a:t>
            </a:r>
            <a:r>
              <a:rPr lang="en-US" b="1" dirty="0"/>
              <a:t> </a:t>
            </a:r>
          </a:p>
          <a:p>
            <a:endParaRPr lang="en-US" dirty="0"/>
          </a:p>
        </p:txBody>
      </p:sp>
      <p:sp>
        <p:nvSpPr>
          <p:cNvPr id="4" name="Slide Number Placeholder 3"/>
          <p:cNvSpPr>
            <a:spLocks noGrp="1"/>
          </p:cNvSpPr>
          <p:nvPr>
            <p:ph type="sldNum" sz="quarter" idx="5"/>
          </p:nvPr>
        </p:nvSpPr>
        <p:spPr/>
        <p:txBody>
          <a:bodyPr/>
          <a:lstStyle/>
          <a:p>
            <a:fld id="{AED6EB05-6E6F-4A08-B64C-1345309C042B}" type="slidenum">
              <a:rPr lang="en-US" smtClean="0"/>
              <a:t>4</a:t>
            </a:fld>
            <a:endParaRPr lang="en-US"/>
          </a:p>
        </p:txBody>
      </p:sp>
    </p:spTree>
    <p:extLst>
      <p:ext uri="{BB962C8B-B14F-4D97-AF65-F5344CB8AC3E}">
        <p14:creationId xmlns:p14="http://schemas.microsoft.com/office/powerpoint/2010/main" val="27392265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CAD085-E8A6-8845-BD4E-CB4CCA059FC4}" type="datetimeFigureOut">
              <a:rPr lang="en-US" smtClean="0"/>
              <a:t>10/23/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168075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10/23/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9109279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10/23/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612223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10/23/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6143142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CAD085-E8A6-8845-BD4E-CB4CCA059FC4}" type="datetimeFigureOut">
              <a:rPr lang="en-US" smtClean="0"/>
              <a:t>10/23/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9606483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BCAD085-E8A6-8845-BD4E-CB4CCA059FC4}" type="datetimeFigureOut">
              <a:rPr lang="en-US" smtClean="0"/>
              <a:t>10/23/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7822449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BCAD085-E8A6-8845-BD4E-CB4CCA059FC4}" type="datetimeFigureOut">
              <a:rPr lang="en-US" smtClean="0"/>
              <a:t>10/23/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9901587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CAD085-E8A6-8845-BD4E-CB4CCA059FC4}" type="datetimeFigureOut">
              <a:rPr lang="en-US" smtClean="0"/>
              <a:t>10/23/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7270277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10/23/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212999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10/23/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8407265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10/23/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8892369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CAD085-E8A6-8845-BD4E-CB4CCA059FC4}" type="datetimeFigureOut">
              <a:rPr lang="en-US" smtClean="0"/>
              <a:t>10/23/2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FF6DA9-008F-8B48-92A6-B652298478BF}" type="slidenum">
              <a:rPr lang="en-US" smtClean="0"/>
              <a:t>‹#›</a:t>
            </a:fld>
            <a:endParaRPr lang="en-US"/>
          </a:p>
        </p:txBody>
      </p:sp>
    </p:spTree>
    <p:extLst>
      <p:ext uri="{BB962C8B-B14F-4D97-AF65-F5344CB8AC3E}">
        <p14:creationId xmlns:p14="http://schemas.microsoft.com/office/powerpoint/2010/main" val="220997751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image" Target="../media/image11.jpeg"/><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image" Target="../media/image12.jpeg"/><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mailto:positivebehavioroutcomes@gmail.com" TargetMode="External"/><Relationship Id="rId1" Type="http://schemas.openxmlformats.org/officeDocument/2006/relationships/slideLayout" Target="../slideLayouts/slideLayout2.xml"/><Relationship Id="rId4" Type="http://schemas.openxmlformats.org/officeDocument/2006/relationships/image" Target="../media/image14.svg"/></Relationships>
</file>

<file path=ppt/slides/_rels/slide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notesSlide" Target="../notesSlides/notesSlide2.xml"/><Relationship Id="rId7"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9.jpeg"/><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B09F531-C857-2A93-6189-8B698D6A1DD5}"/>
              </a:ext>
            </a:extLst>
          </p:cNvPr>
          <p:cNvSpPr/>
          <p:nvPr/>
        </p:nvSpPr>
        <p:spPr>
          <a:xfrm>
            <a:off x="21380" y="1020704"/>
            <a:ext cx="9147473" cy="5138352"/>
          </a:xfrm>
          <a:prstGeom prst="rect">
            <a:avLst/>
          </a:prstGeom>
          <a:gradFill>
            <a:gsLst>
              <a:gs pos="0">
                <a:schemeClr val="accent1">
                  <a:lumMod val="5000"/>
                  <a:lumOff val="95000"/>
                  <a:alpha val="53000"/>
                </a:schemeClr>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22" name="Object 21" hidden="1">
            <a:extLst>
              <a:ext uri="{FF2B5EF4-FFF2-40B4-BE49-F238E27FC236}">
                <a16:creationId xmlns:a16="http://schemas.microsoft.com/office/drawing/2014/main" id="{DFD61ABD-7F20-4E02-93B8-BAE4C9A055DF}"/>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22" name="Object 21" hidden="1">
                        <a:extLst>
                          <a:ext uri="{FF2B5EF4-FFF2-40B4-BE49-F238E27FC236}">
                            <a16:creationId xmlns:a16="http://schemas.microsoft.com/office/drawing/2014/main" id="{DFD61ABD-7F20-4E02-93B8-BAE4C9A055DF}"/>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BB4C435E-336D-4E87-93DB-F79F5DB92A88}"/>
              </a:ext>
            </a:extLst>
          </p:cNvPr>
          <p:cNvSpPr txBox="1"/>
          <p:nvPr/>
        </p:nvSpPr>
        <p:spPr>
          <a:xfrm>
            <a:off x="277569" y="2009705"/>
            <a:ext cx="8635094" cy="900246"/>
          </a:xfrm>
          <a:prstGeom prst="rect">
            <a:avLst/>
          </a:prstGeom>
          <a:noFill/>
          <a:ln>
            <a:noFill/>
          </a:ln>
        </p:spPr>
        <p:txBody>
          <a:bodyPr wrap="square" lIns="68580" tIns="34290" rIns="68580" bIns="34290" rtlCol="0" anchor="t">
            <a:spAutoFit/>
          </a:bodyPr>
          <a:lstStyle/>
          <a:p>
            <a:pPr algn="ctr"/>
            <a:r>
              <a:rPr lang="en-US" sz="5400" dirty="0">
                <a:solidFill>
                  <a:srgbClr val="0070C0"/>
                </a:solidFill>
                <a:latin typeface="Segoe UI Black"/>
                <a:ea typeface="Segoe UI Black"/>
                <a:cs typeface="Segoe UI Semibold"/>
              </a:rPr>
              <a:t>Bridging ABA &amp; Speech</a:t>
            </a:r>
          </a:p>
        </p:txBody>
      </p:sp>
      <p:sp>
        <p:nvSpPr>
          <p:cNvPr id="5" name="TextBox 4">
            <a:extLst>
              <a:ext uri="{FF2B5EF4-FFF2-40B4-BE49-F238E27FC236}">
                <a16:creationId xmlns:a16="http://schemas.microsoft.com/office/drawing/2014/main" id="{3D07DEF6-B6BA-4C4A-AEBA-DCDD6F8C631E}"/>
              </a:ext>
            </a:extLst>
          </p:cNvPr>
          <p:cNvSpPr txBox="1"/>
          <p:nvPr/>
        </p:nvSpPr>
        <p:spPr>
          <a:xfrm>
            <a:off x="1136307" y="3705449"/>
            <a:ext cx="6868886" cy="300082"/>
          </a:xfrm>
          <a:prstGeom prst="rect">
            <a:avLst/>
          </a:prstGeom>
          <a:noFill/>
        </p:spPr>
        <p:txBody>
          <a:bodyPr wrap="square" lIns="68580" tIns="34290" rIns="68580" bIns="34290" rtlCol="0" anchor="t">
            <a:spAutoFit/>
          </a:bodyPr>
          <a:lstStyle/>
          <a:p>
            <a:pPr algn="ctr"/>
            <a:r>
              <a:rPr lang="en-US" sz="1500" i="1" dirty="0">
                <a:solidFill>
                  <a:schemeClr val="accent1">
                    <a:lumMod val="76000"/>
                  </a:schemeClr>
                </a:solidFill>
                <a:cs typeface="Segoe UI Semibold"/>
              </a:rPr>
              <a:t>presented by</a:t>
            </a:r>
          </a:p>
        </p:txBody>
      </p:sp>
      <p:sp>
        <p:nvSpPr>
          <p:cNvPr id="6" name="TextBox 5">
            <a:extLst>
              <a:ext uri="{FF2B5EF4-FFF2-40B4-BE49-F238E27FC236}">
                <a16:creationId xmlns:a16="http://schemas.microsoft.com/office/drawing/2014/main" id="{B53EC639-1C0A-4933-B81D-59B0426BA6CF}"/>
              </a:ext>
            </a:extLst>
          </p:cNvPr>
          <p:cNvSpPr txBox="1"/>
          <p:nvPr/>
        </p:nvSpPr>
        <p:spPr>
          <a:xfrm>
            <a:off x="1074963" y="2802184"/>
            <a:ext cx="6868886" cy="438582"/>
          </a:xfrm>
          <a:prstGeom prst="rect">
            <a:avLst/>
          </a:prstGeom>
          <a:noFill/>
        </p:spPr>
        <p:txBody>
          <a:bodyPr wrap="square" lIns="68580" tIns="34290" rIns="68580" bIns="34290" rtlCol="0" anchor="t">
            <a:spAutoFit/>
          </a:bodyPr>
          <a:lstStyle/>
          <a:p>
            <a:pPr algn="ctr"/>
            <a:r>
              <a:rPr lang="en-US" sz="2400" dirty="0">
                <a:solidFill>
                  <a:schemeClr val="accent6">
                    <a:lumMod val="76000"/>
                  </a:schemeClr>
                </a:solidFill>
                <a:cs typeface="Segoe UI Semibold"/>
              </a:rPr>
              <a:t>Collaborative Strategies for Autism</a:t>
            </a:r>
          </a:p>
        </p:txBody>
      </p:sp>
      <p:sp>
        <p:nvSpPr>
          <p:cNvPr id="43" name="Freeform: Shape 42">
            <a:extLst>
              <a:ext uri="{FF2B5EF4-FFF2-40B4-BE49-F238E27FC236}">
                <a16:creationId xmlns:a16="http://schemas.microsoft.com/office/drawing/2014/main" id="{BD059296-E1BD-414A-88FE-5A014F59F788}"/>
              </a:ext>
            </a:extLst>
          </p:cNvPr>
          <p:cNvSpPr/>
          <p:nvPr/>
        </p:nvSpPr>
        <p:spPr>
          <a:xfrm>
            <a:off x="-1" y="-8115"/>
            <a:ext cx="2093205" cy="1939518"/>
          </a:xfrm>
          <a:custGeom>
            <a:avLst/>
            <a:gdLst>
              <a:gd name="connsiteX0" fmla="*/ 0 w 2212717"/>
              <a:gd name="connsiteY0" fmla="*/ 0 h 1893374"/>
              <a:gd name="connsiteX1" fmla="*/ 1904940 w 2212717"/>
              <a:gd name="connsiteY1" fmla="*/ 0 h 1893374"/>
              <a:gd name="connsiteX2" fmla="*/ 1901114 w 2212717"/>
              <a:gd name="connsiteY2" fmla="*/ 9842 h 1893374"/>
              <a:gd name="connsiteX3" fmla="*/ 1676802 w 2212717"/>
              <a:gd name="connsiteY3" fmla="*/ 586905 h 1893374"/>
              <a:gd name="connsiteX4" fmla="*/ 2005588 w 2212717"/>
              <a:gd name="connsiteY4" fmla="*/ 520244 h 1893374"/>
              <a:gd name="connsiteX5" fmla="*/ 2179474 w 2212717"/>
              <a:gd name="connsiteY5" fmla="*/ 1030679 h 1893374"/>
              <a:gd name="connsiteX6" fmla="*/ 1709439 w 2212717"/>
              <a:gd name="connsiteY6" fmla="*/ 1297150 h 1893374"/>
              <a:gd name="connsiteX7" fmla="*/ 1508397 w 2212717"/>
              <a:gd name="connsiteY7" fmla="*/ 1024173 h 1893374"/>
              <a:gd name="connsiteX8" fmla="*/ 1173641 w 2212717"/>
              <a:gd name="connsiteY8" fmla="*/ 1893374 h 1893374"/>
              <a:gd name="connsiteX9" fmla="*/ 0 w 2212717"/>
              <a:gd name="connsiteY9" fmla="*/ 1443136 h 1893374"/>
              <a:gd name="connsiteX10" fmla="*/ 0 w 2212717"/>
              <a:gd name="connsiteY10" fmla="*/ 0 h 189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12717" h="1893374">
                <a:moveTo>
                  <a:pt x="0" y="0"/>
                </a:moveTo>
                <a:lnTo>
                  <a:pt x="1904940" y="0"/>
                </a:lnTo>
                <a:lnTo>
                  <a:pt x="1901114" y="9842"/>
                </a:lnTo>
                <a:cubicBezTo>
                  <a:pt x="1852033" y="136107"/>
                  <a:pt x="1780643" y="319765"/>
                  <a:pt x="1676802" y="586905"/>
                </a:cubicBezTo>
                <a:cubicBezTo>
                  <a:pt x="1774510" y="508101"/>
                  <a:pt x="1898883" y="479309"/>
                  <a:pt x="2005588" y="520244"/>
                </a:cubicBezTo>
                <a:cubicBezTo>
                  <a:pt x="2186985" y="589832"/>
                  <a:pt x="2261622" y="817378"/>
                  <a:pt x="2179474" y="1030679"/>
                </a:cubicBezTo>
                <a:cubicBezTo>
                  <a:pt x="2097325" y="1243980"/>
                  <a:pt x="1885501" y="1364691"/>
                  <a:pt x="1709439" y="1297150"/>
                </a:cubicBezTo>
                <a:cubicBezTo>
                  <a:pt x="1601094" y="1252525"/>
                  <a:pt x="1528064" y="1148005"/>
                  <a:pt x="1508397" y="1024173"/>
                </a:cubicBezTo>
                <a:cubicBezTo>
                  <a:pt x="1508397" y="1024173"/>
                  <a:pt x="1508397" y="1024173"/>
                  <a:pt x="1173641" y="1893374"/>
                </a:cubicBezTo>
                <a:lnTo>
                  <a:pt x="0" y="1443136"/>
                </a:lnTo>
                <a:lnTo>
                  <a:pt x="0" y="0"/>
                </a:lnTo>
                <a:close/>
              </a:path>
            </a:pathLst>
          </a:custGeom>
          <a:solidFill>
            <a:srgbClr val="FFCC34">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2" name="Freeform: Shape 41">
            <a:extLst>
              <a:ext uri="{FF2B5EF4-FFF2-40B4-BE49-F238E27FC236}">
                <a16:creationId xmlns:a16="http://schemas.microsoft.com/office/drawing/2014/main" id="{E79B48B6-0516-426B-A670-0B306E812989}"/>
              </a:ext>
            </a:extLst>
          </p:cNvPr>
          <p:cNvSpPr/>
          <p:nvPr/>
        </p:nvSpPr>
        <p:spPr>
          <a:xfrm rot="5400000">
            <a:off x="6685581" y="4402871"/>
            <a:ext cx="2206688" cy="2710149"/>
          </a:xfrm>
          <a:custGeom>
            <a:avLst/>
            <a:gdLst>
              <a:gd name="connsiteX0" fmla="*/ 828517 w 2085327"/>
              <a:gd name="connsiteY0" fmla="*/ 0 h 2464926"/>
              <a:gd name="connsiteX1" fmla="*/ 2085327 w 2085327"/>
              <a:gd name="connsiteY1" fmla="*/ 0 h 2464926"/>
              <a:gd name="connsiteX2" fmla="*/ 2085327 w 2085327"/>
              <a:gd name="connsiteY2" fmla="*/ 2020318 h 2464926"/>
              <a:gd name="connsiteX3" fmla="*/ 2079537 w 2085327"/>
              <a:gd name="connsiteY3" fmla="*/ 2026065 h 2464926"/>
              <a:gd name="connsiteX4" fmla="*/ 1637406 w 2085327"/>
              <a:gd name="connsiteY4" fmla="*/ 2464926 h 2464926"/>
              <a:gd name="connsiteX5" fmla="*/ 982444 w 2085327"/>
              <a:gd name="connsiteY5" fmla="*/ 1814809 h 2464926"/>
              <a:gd name="connsiteX6" fmla="*/ 909670 w 2085327"/>
              <a:gd name="connsiteY6" fmla="*/ 2141887 h 2464926"/>
              <a:gd name="connsiteX7" fmla="*/ 375997 w 2085327"/>
              <a:gd name="connsiteY7" fmla="*/ 2089393 h 2464926"/>
              <a:gd name="connsiteX8" fmla="*/ 323438 w 2085327"/>
              <a:gd name="connsiteY8" fmla="*/ 1552340 h 2464926"/>
              <a:gd name="connsiteX9" fmla="*/ 650919 w 2085327"/>
              <a:gd name="connsiteY9" fmla="*/ 1479656 h 2464926"/>
              <a:gd name="connsiteX10" fmla="*/ 0 w 2085327"/>
              <a:gd name="connsiteY10" fmla="*/ 829539 h 2464926"/>
              <a:gd name="connsiteX11" fmla="*/ 780776 w 2085327"/>
              <a:gd name="connsiteY11" fmla="*/ 47800 h 2464926"/>
              <a:gd name="connsiteX12" fmla="*/ 828517 w 2085327"/>
              <a:gd name="connsiteY12" fmla="*/ 0 h 246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5327" h="2464926">
                <a:moveTo>
                  <a:pt x="828517" y="0"/>
                </a:moveTo>
                <a:lnTo>
                  <a:pt x="2085327" y="0"/>
                </a:lnTo>
                <a:lnTo>
                  <a:pt x="2085327" y="2020318"/>
                </a:lnTo>
                <a:lnTo>
                  <a:pt x="2079537" y="2026065"/>
                </a:lnTo>
                <a:cubicBezTo>
                  <a:pt x="1982796" y="2122091"/>
                  <a:pt x="1842082" y="2261765"/>
                  <a:pt x="1637406" y="2464926"/>
                </a:cubicBezTo>
                <a:cubicBezTo>
                  <a:pt x="1637406" y="2464926"/>
                  <a:pt x="1637406" y="2464926"/>
                  <a:pt x="982444" y="1814809"/>
                </a:cubicBezTo>
                <a:cubicBezTo>
                  <a:pt x="1018830" y="1931911"/>
                  <a:pt x="994573" y="2057089"/>
                  <a:pt x="909670" y="2141887"/>
                </a:cubicBezTo>
                <a:cubicBezTo>
                  <a:pt x="776252" y="2275140"/>
                  <a:pt x="537716" y="2250913"/>
                  <a:pt x="375997" y="2089393"/>
                </a:cubicBezTo>
                <a:cubicBezTo>
                  <a:pt x="214278" y="1927873"/>
                  <a:pt x="190020" y="1689632"/>
                  <a:pt x="323438" y="1552340"/>
                </a:cubicBezTo>
                <a:cubicBezTo>
                  <a:pt x="408341" y="1471580"/>
                  <a:pt x="529630" y="1447352"/>
                  <a:pt x="650919" y="1479656"/>
                </a:cubicBezTo>
                <a:cubicBezTo>
                  <a:pt x="650919" y="1479656"/>
                  <a:pt x="650919" y="1479656"/>
                  <a:pt x="0" y="829539"/>
                </a:cubicBezTo>
                <a:cubicBezTo>
                  <a:pt x="0" y="829539"/>
                  <a:pt x="0" y="829539"/>
                  <a:pt x="780776" y="47800"/>
                </a:cubicBezTo>
                <a:lnTo>
                  <a:pt x="828517" y="0"/>
                </a:lnTo>
                <a:close/>
              </a:path>
            </a:pathLst>
          </a:custGeom>
          <a:solidFill>
            <a:srgbClr val="2DB06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1" name="Freeform: Shape 40">
            <a:extLst>
              <a:ext uri="{FF2B5EF4-FFF2-40B4-BE49-F238E27FC236}">
                <a16:creationId xmlns:a16="http://schemas.microsoft.com/office/drawing/2014/main" id="{0512B991-DD55-4071-A6D6-711725DA75FF}"/>
              </a:ext>
            </a:extLst>
          </p:cNvPr>
          <p:cNvSpPr/>
          <p:nvPr/>
        </p:nvSpPr>
        <p:spPr>
          <a:xfrm rot="16200000">
            <a:off x="6789873" y="48159"/>
            <a:ext cx="2441599" cy="2316361"/>
          </a:xfrm>
          <a:custGeom>
            <a:avLst/>
            <a:gdLst>
              <a:gd name="connsiteX0" fmla="*/ 1637533 w 2350194"/>
              <a:gd name="connsiteY0" fmla="*/ 0 h 2086349"/>
              <a:gd name="connsiteX1" fmla="*/ 2308720 w 2350194"/>
              <a:gd name="connsiteY1" fmla="*/ 670254 h 2086349"/>
              <a:gd name="connsiteX2" fmla="*/ 1956953 w 2350194"/>
              <a:gd name="connsiteY2" fmla="*/ 734856 h 2086349"/>
              <a:gd name="connsiteX3" fmla="*/ 2005473 w 2350194"/>
              <a:gd name="connsiteY3" fmla="*/ 1267829 h 2086349"/>
              <a:gd name="connsiteX4" fmla="*/ 2284966 w 2350194"/>
              <a:gd name="connsiteY4" fmla="*/ 1404605 h 2086349"/>
              <a:gd name="connsiteX5" fmla="*/ 2350194 w 2350194"/>
              <a:gd name="connsiteY5" fmla="*/ 1404827 h 2086349"/>
              <a:gd name="connsiteX6" fmla="*/ 2350194 w 2350194"/>
              <a:gd name="connsiteY6" fmla="*/ 2086349 h 2086349"/>
              <a:gd name="connsiteX7" fmla="*/ 451720 w 2350194"/>
              <a:gd name="connsiteY7" fmla="*/ 2086349 h 2086349"/>
              <a:gd name="connsiteX8" fmla="*/ 418728 w 2350194"/>
              <a:gd name="connsiteY8" fmla="*/ 2053403 h 2086349"/>
              <a:gd name="connsiteX9" fmla="*/ 0 w 2350194"/>
              <a:gd name="connsiteY9" fmla="*/ 1635257 h 2086349"/>
              <a:gd name="connsiteX10" fmla="*/ 655013 w 2350194"/>
              <a:gd name="connsiteY10" fmla="*/ 981154 h 2086349"/>
              <a:gd name="connsiteX11" fmla="*/ 727793 w 2350194"/>
              <a:gd name="connsiteY11" fmla="*/ 1312243 h 2086349"/>
              <a:gd name="connsiteX12" fmla="*/ 1261507 w 2350194"/>
              <a:gd name="connsiteY12" fmla="*/ 1259754 h 2086349"/>
              <a:gd name="connsiteX13" fmla="*/ 1314070 w 2350194"/>
              <a:gd name="connsiteY13" fmla="*/ 722743 h 2086349"/>
              <a:gd name="connsiteX14" fmla="*/ 986563 w 2350194"/>
              <a:gd name="connsiteY14" fmla="*/ 650065 h 2086349"/>
              <a:gd name="connsiteX15" fmla="*/ 1637533 w 2350194"/>
              <a:gd name="connsiteY15" fmla="*/ 0 h 2086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0194" h="2086349">
                <a:moveTo>
                  <a:pt x="1637533" y="0"/>
                </a:moveTo>
                <a:cubicBezTo>
                  <a:pt x="1637533" y="0"/>
                  <a:pt x="1637533" y="0"/>
                  <a:pt x="2308720" y="670254"/>
                </a:cubicBezTo>
                <a:cubicBezTo>
                  <a:pt x="2179335" y="625839"/>
                  <a:pt x="2045906" y="646028"/>
                  <a:pt x="1956953" y="734856"/>
                </a:cubicBezTo>
                <a:cubicBezTo>
                  <a:pt x="1819481" y="868100"/>
                  <a:pt x="1843741" y="1106322"/>
                  <a:pt x="2005473" y="1267829"/>
                </a:cubicBezTo>
                <a:cubicBezTo>
                  <a:pt x="2086339" y="1348583"/>
                  <a:pt x="2187421" y="1395016"/>
                  <a:pt x="2284966" y="1404605"/>
                </a:cubicBezTo>
                <a:lnTo>
                  <a:pt x="2350194" y="1404827"/>
                </a:lnTo>
                <a:lnTo>
                  <a:pt x="2350194" y="2086349"/>
                </a:lnTo>
                <a:lnTo>
                  <a:pt x="451720" y="2086349"/>
                </a:lnTo>
                <a:lnTo>
                  <a:pt x="418728" y="2053403"/>
                </a:lnTo>
                <a:cubicBezTo>
                  <a:pt x="292645" y="1927496"/>
                  <a:pt x="153519" y="1788563"/>
                  <a:pt x="0" y="1635257"/>
                </a:cubicBezTo>
                <a:cubicBezTo>
                  <a:pt x="0" y="1635257"/>
                  <a:pt x="0" y="1635257"/>
                  <a:pt x="655013" y="981154"/>
                </a:cubicBezTo>
                <a:cubicBezTo>
                  <a:pt x="618624" y="1102285"/>
                  <a:pt x="642883" y="1227452"/>
                  <a:pt x="727793" y="1312243"/>
                </a:cubicBezTo>
                <a:cubicBezTo>
                  <a:pt x="861221" y="1445487"/>
                  <a:pt x="1099775" y="1421261"/>
                  <a:pt x="1261507" y="1259754"/>
                </a:cubicBezTo>
                <a:cubicBezTo>
                  <a:pt x="1423239" y="1098247"/>
                  <a:pt x="1447499" y="860024"/>
                  <a:pt x="1314070" y="722743"/>
                </a:cubicBezTo>
                <a:cubicBezTo>
                  <a:pt x="1229161" y="641990"/>
                  <a:pt x="1107862" y="617764"/>
                  <a:pt x="986563" y="650065"/>
                </a:cubicBezTo>
                <a:cubicBezTo>
                  <a:pt x="986563" y="650065"/>
                  <a:pt x="986563" y="650065"/>
                  <a:pt x="1637533" y="0"/>
                </a:cubicBezTo>
                <a:close/>
              </a:path>
            </a:pathLst>
          </a:custGeom>
          <a:solidFill>
            <a:srgbClr val="006AF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5" name="Slide Number Placeholder 64">
            <a:extLst>
              <a:ext uri="{FF2B5EF4-FFF2-40B4-BE49-F238E27FC236}">
                <a16:creationId xmlns:a16="http://schemas.microsoft.com/office/drawing/2014/main" id="{604E5502-52F3-47EB-AA69-1E6A0121DBFC}"/>
              </a:ext>
            </a:extLst>
          </p:cNvPr>
          <p:cNvSpPr>
            <a:spLocks noGrp="1"/>
          </p:cNvSpPr>
          <p:nvPr>
            <p:ph type="sldNum" sz="quarter" idx="4"/>
          </p:nvPr>
        </p:nvSpPr>
        <p:spPr>
          <a:xfrm>
            <a:off x="10591798" y="6423127"/>
            <a:ext cx="762001" cy="222250"/>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980692-5CF5-4477-9CC7-CF761597EE5F}" type="slidenum">
              <a:rPr lang="en-US" smtClean="0"/>
              <a:pPr/>
              <a:t>1</a:t>
            </a:fld>
            <a:endParaRPr lang="en-US"/>
          </a:p>
        </p:txBody>
      </p:sp>
      <p:pic>
        <p:nvPicPr>
          <p:cNvPr id="2" name="Picture 1" descr="A red puzzle piece on a black background&#10;&#10;AI-generated content may be incorrect.">
            <a:extLst>
              <a:ext uri="{FF2B5EF4-FFF2-40B4-BE49-F238E27FC236}">
                <a16:creationId xmlns:a16="http://schemas.microsoft.com/office/drawing/2014/main" id="{90EC1E87-E0A1-6C04-B481-541B4BFC4E9E}"/>
              </a:ext>
            </a:extLst>
          </p:cNvPr>
          <p:cNvPicPr>
            <a:picLocks noChangeAspect="1"/>
          </p:cNvPicPr>
          <p:nvPr/>
        </p:nvPicPr>
        <p:blipFill>
          <a:blip r:embed="rId6"/>
          <a:stretch>
            <a:fillRect/>
          </a:stretch>
        </p:blipFill>
        <p:spPr>
          <a:xfrm>
            <a:off x="-14407" y="4657683"/>
            <a:ext cx="2526253" cy="2206688"/>
          </a:xfrm>
          <a:prstGeom prst="rect">
            <a:avLst/>
          </a:prstGeom>
        </p:spPr>
      </p:pic>
      <p:pic>
        <p:nvPicPr>
          <p:cNvPr id="3" name="Picture 2" descr="Picture 3, Picture">
            <a:extLst>
              <a:ext uri="{FF2B5EF4-FFF2-40B4-BE49-F238E27FC236}">
                <a16:creationId xmlns:a16="http://schemas.microsoft.com/office/drawing/2014/main" id="{20457256-4292-BDB3-1195-7ABDA432C239}"/>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Lst>
          </a:blip>
          <a:stretch>
            <a:fillRect/>
          </a:stretch>
        </p:blipFill>
        <p:spPr>
          <a:xfrm>
            <a:off x="3366427" y="3976479"/>
            <a:ext cx="2408645" cy="1565323"/>
          </a:xfrm>
          <a:prstGeom prst="rect">
            <a:avLst/>
          </a:prstGeom>
        </p:spPr>
      </p:pic>
      <p:sp>
        <p:nvSpPr>
          <p:cNvPr id="7" name="TextBox 6">
            <a:extLst>
              <a:ext uri="{FF2B5EF4-FFF2-40B4-BE49-F238E27FC236}">
                <a16:creationId xmlns:a16="http://schemas.microsoft.com/office/drawing/2014/main" id="{1A57F1C8-DAA4-1051-BB73-720C87FFD83C}"/>
              </a:ext>
            </a:extLst>
          </p:cNvPr>
          <p:cNvSpPr txBox="1"/>
          <p:nvPr/>
        </p:nvSpPr>
        <p:spPr>
          <a:xfrm>
            <a:off x="1136306" y="5657486"/>
            <a:ext cx="6868886" cy="438582"/>
          </a:xfrm>
          <a:prstGeom prst="rect">
            <a:avLst/>
          </a:prstGeom>
          <a:noFill/>
        </p:spPr>
        <p:txBody>
          <a:bodyPr wrap="square" lIns="68580" tIns="34290" rIns="68580" bIns="34290" rtlCol="0" anchor="t">
            <a:spAutoFit/>
          </a:bodyPr>
          <a:lstStyle/>
          <a:p>
            <a:pPr algn="ctr"/>
            <a:r>
              <a:rPr lang="en-US" sz="2400" dirty="0">
                <a:solidFill>
                  <a:schemeClr val="accent6">
                    <a:lumMod val="76000"/>
                  </a:schemeClr>
                </a:solidFill>
                <a:cs typeface="Segoe UI Semibold"/>
              </a:rPr>
              <a:t>Kimberly Peters, BCBA</a:t>
            </a:r>
          </a:p>
        </p:txBody>
      </p:sp>
    </p:spTree>
    <p:extLst>
      <p:ext uri="{BB962C8B-B14F-4D97-AF65-F5344CB8AC3E}">
        <p14:creationId xmlns:p14="http://schemas.microsoft.com/office/powerpoint/2010/main" val="30176689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Picture 12" descr="A close-up of a grid&#10;&#10;Description automatically generated">
            <a:extLst>
              <a:ext uri="{FF2B5EF4-FFF2-40B4-BE49-F238E27FC236}">
                <a16:creationId xmlns:a16="http://schemas.microsoft.com/office/drawing/2014/main" id="{019F0BAB-4133-7539-4418-786D61CA3D4D}"/>
              </a:ext>
            </a:extLst>
          </p:cNvPr>
          <p:cNvPicPr>
            <a:picLocks noChangeAspect="1"/>
          </p:cNvPicPr>
          <p:nvPr/>
        </p:nvPicPr>
        <p:blipFill>
          <a:blip r:embed="rId2">
            <a:duotone>
              <a:schemeClr val="bg2">
                <a:shade val="45000"/>
                <a:satMod val="135000"/>
              </a:schemeClr>
              <a:prstClr val="white"/>
            </a:duotone>
          </a:blip>
          <a:srcRect l="18000"/>
          <a:stretch>
            <a:fillRect/>
          </a:stretch>
        </p:blipFill>
        <p:spPr>
          <a:xfrm>
            <a:off x="20" y="10"/>
            <a:ext cx="9143980" cy="6857990"/>
          </a:xfrm>
          <a:prstGeom prst="rect">
            <a:avLst/>
          </a:prstGeom>
        </p:spPr>
      </p:pic>
      <p:sp>
        <p:nvSpPr>
          <p:cNvPr id="17" name="Rectangle 16">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8650" y="365125"/>
            <a:ext cx="7886700" cy="1325563"/>
          </a:xfrm>
        </p:spPr>
        <p:txBody>
          <a:bodyPr>
            <a:normAutofit fontScale="90000"/>
          </a:bodyPr>
          <a:lstStyle/>
          <a:p>
            <a:r>
              <a:rPr lang="en-US" dirty="0"/>
              <a:t>Core ABA Strategies That Support Speech Therapy</a:t>
            </a:r>
          </a:p>
        </p:txBody>
      </p:sp>
      <p:graphicFrame>
        <p:nvGraphicFramePr>
          <p:cNvPr id="5" name="Content Placeholder 2">
            <a:extLst>
              <a:ext uri="{FF2B5EF4-FFF2-40B4-BE49-F238E27FC236}">
                <a16:creationId xmlns:a16="http://schemas.microsoft.com/office/drawing/2014/main" id="{F2B48999-7307-BA64-0288-BAA5E64F201D}"/>
              </a:ext>
            </a:extLst>
          </p:cNvPr>
          <p:cNvGraphicFramePr>
            <a:graphicFrameLocks noGrp="1"/>
          </p:cNvGraphicFramePr>
          <p:nvPr>
            <p:ph idx="1"/>
            <p:extLst>
              <p:ext uri="{D42A27DB-BD31-4B8C-83A1-F6EECF244321}">
                <p14:modId xmlns:p14="http://schemas.microsoft.com/office/powerpoint/2010/main" val="2160485033"/>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7"/>
          <p:cNvSpPr txBox="1"/>
          <p:nvPr/>
        </p:nvSpPr>
        <p:spPr>
          <a:xfrm>
            <a:off x="457200" y="5943600"/>
            <a:ext cx="8058150" cy="923330"/>
          </a:xfrm>
          <a:prstGeom prst="rect">
            <a:avLst/>
          </a:prstGeom>
          <a:noFill/>
        </p:spPr>
        <p:txBody>
          <a:bodyPr wrap="square">
            <a:spAutoFit/>
          </a:bodyPr>
          <a:lstStyle/>
          <a:p>
            <a:endParaRPr dirty="0"/>
          </a:p>
          <a:p>
            <a:pPr algn="l">
              <a:defRPr sz="1800"/>
            </a:pPr>
            <a:r>
              <a:rPr dirty="0"/>
              <a:t>Note: Prompting sequences may move from most-to-least or least-to-most depending on the child’s current skill set and learning history.</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8DED6BC-9A3E-48D4-AD7C-A56D63F547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6B6E033A-DB2E-49B8-B600-B38E0C2802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9926" y="1371600"/>
            <a:ext cx="3396984" cy="3589977"/>
          </a:xfrm>
          <a:custGeom>
            <a:avLst/>
            <a:gdLst>
              <a:gd name="connsiteX0" fmla="*/ 5462602 w 5470628"/>
              <a:gd name="connsiteY0" fmla="*/ 1413608 h 3193741"/>
              <a:gd name="connsiteX1" fmla="*/ 5465724 w 5470628"/>
              <a:gd name="connsiteY1" fmla="*/ 1421881 h 3193741"/>
              <a:gd name="connsiteX2" fmla="*/ 5465025 w 5470628"/>
              <a:gd name="connsiteY2" fmla="*/ 1466556 h 3193741"/>
              <a:gd name="connsiteX3" fmla="*/ 5463208 w 5470628"/>
              <a:gd name="connsiteY3" fmla="*/ 1466226 h 3193741"/>
              <a:gd name="connsiteX4" fmla="*/ 5463242 w 5470628"/>
              <a:gd name="connsiteY4" fmla="*/ 1451866 h 3193741"/>
              <a:gd name="connsiteX5" fmla="*/ 5462894 w 5470628"/>
              <a:gd name="connsiteY5" fmla="*/ 1423194 h 3193741"/>
              <a:gd name="connsiteX6" fmla="*/ 5461417 w 5470628"/>
              <a:gd name="connsiteY6" fmla="*/ 1391849 h 3193741"/>
              <a:gd name="connsiteX7" fmla="*/ 5462246 w 5470628"/>
              <a:gd name="connsiteY7" fmla="*/ 1401944 h 3193741"/>
              <a:gd name="connsiteX8" fmla="*/ 5462602 w 5470628"/>
              <a:gd name="connsiteY8" fmla="*/ 1413608 h 3193741"/>
              <a:gd name="connsiteX9" fmla="*/ 5459078 w 5470628"/>
              <a:gd name="connsiteY9" fmla="*/ 1404268 h 3193741"/>
              <a:gd name="connsiteX10" fmla="*/ 5460137 w 5470628"/>
              <a:gd name="connsiteY10" fmla="*/ 1393780 h 3193741"/>
              <a:gd name="connsiteX11" fmla="*/ 5461417 w 5470628"/>
              <a:gd name="connsiteY11" fmla="*/ 1391849 h 3193741"/>
              <a:gd name="connsiteX12" fmla="*/ 614271 w 5470628"/>
              <a:gd name="connsiteY12" fmla="*/ 1052206 h 3193741"/>
              <a:gd name="connsiteX13" fmla="*/ 611497 w 5470628"/>
              <a:gd name="connsiteY13" fmla="*/ 1055389 h 3193741"/>
              <a:gd name="connsiteX14" fmla="*/ 630277 w 5470628"/>
              <a:gd name="connsiteY14" fmla="*/ 1065215 h 3193741"/>
              <a:gd name="connsiteX15" fmla="*/ 651856 w 5470628"/>
              <a:gd name="connsiteY15" fmla="*/ 1067584 h 3193741"/>
              <a:gd name="connsiteX16" fmla="*/ 614271 w 5470628"/>
              <a:gd name="connsiteY16" fmla="*/ 1052206 h 3193741"/>
              <a:gd name="connsiteX17" fmla="*/ 810628 w 5470628"/>
              <a:gd name="connsiteY17" fmla="*/ 695550 h 3193741"/>
              <a:gd name="connsiteX18" fmla="*/ 1033084 w 5470628"/>
              <a:gd name="connsiteY18" fmla="*/ 791270 h 3193741"/>
              <a:gd name="connsiteX19" fmla="*/ 1036153 w 5470628"/>
              <a:gd name="connsiteY19" fmla="*/ 788050 h 3193741"/>
              <a:gd name="connsiteX20" fmla="*/ 810628 w 5470628"/>
              <a:gd name="connsiteY20" fmla="*/ 695550 h 3193741"/>
              <a:gd name="connsiteX21" fmla="*/ 4850908 w 5470628"/>
              <a:gd name="connsiteY21" fmla="*/ 727 h 3193741"/>
              <a:gd name="connsiteX22" fmla="*/ 4858584 w 5470628"/>
              <a:gd name="connsiteY22" fmla="*/ 13795 h 3193741"/>
              <a:gd name="connsiteX23" fmla="*/ 4843408 w 5470628"/>
              <a:gd name="connsiteY23" fmla="*/ 37224 h 3193741"/>
              <a:gd name="connsiteX24" fmla="*/ 4871062 w 5470628"/>
              <a:gd name="connsiteY24" fmla="*/ 78954 h 3193741"/>
              <a:gd name="connsiteX25" fmla="*/ 4989038 w 5470628"/>
              <a:gd name="connsiteY25" fmla="*/ 66799 h 3193741"/>
              <a:gd name="connsiteX26" fmla="*/ 5002636 w 5470628"/>
              <a:gd name="connsiteY26" fmla="*/ 79388 h 3193741"/>
              <a:gd name="connsiteX27" fmla="*/ 5008332 w 5470628"/>
              <a:gd name="connsiteY27" fmla="*/ 140859 h 3193741"/>
              <a:gd name="connsiteX28" fmla="*/ 5014326 w 5470628"/>
              <a:gd name="connsiteY28" fmla="*/ 155555 h 3193741"/>
              <a:gd name="connsiteX29" fmla="*/ 5030704 w 5470628"/>
              <a:gd name="connsiteY29" fmla="*/ 221190 h 3193741"/>
              <a:gd name="connsiteX30" fmla="*/ 5097262 w 5470628"/>
              <a:gd name="connsiteY30" fmla="*/ 317759 h 3193741"/>
              <a:gd name="connsiteX31" fmla="*/ 5165084 w 5470628"/>
              <a:gd name="connsiteY31" fmla="*/ 373367 h 3193741"/>
              <a:gd name="connsiteX32" fmla="*/ 5174137 w 5470628"/>
              <a:gd name="connsiteY32" fmla="*/ 389353 h 3193741"/>
              <a:gd name="connsiteX33" fmla="*/ 5192507 w 5470628"/>
              <a:gd name="connsiteY33" fmla="*/ 453561 h 3193741"/>
              <a:gd name="connsiteX34" fmla="*/ 5187160 w 5470628"/>
              <a:gd name="connsiteY34" fmla="*/ 467732 h 3193741"/>
              <a:gd name="connsiteX35" fmla="*/ 5160106 w 5470628"/>
              <a:gd name="connsiteY35" fmla="*/ 486904 h 3193741"/>
              <a:gd name="connsiteX36" fmla="*/ 5138948 w 5470628"/>
              <a:gd name="connsiteY36" fmla="*/ 528614 h 3193741"/>
              <a:gd name="connsiteX37" fmla="*/ 5097016 w 5470628"/>
              <a:gd name="connsiteY37" fmla="*/ 589923 h 3193741"/>
              <a:gd name="connsiteX38" fmla="*/ 5075869 w 5470628"/>
              <a:gd name="connsiteY38" fmla="*/ 608381 h 3193741"/>
              <a:gd name="connsiteX39" fmla="*/ 5093172 w 5470628"/>
              <a:gd name="connsiteY39" fmla="*/ 618385 h 3193741"/>
              <a:gd name="connsiteX40" fmla="*/ 5153518 w 5470628"/>
              <a:gd name="connsiteY40" fmla="*/ 687474 h 3193741"/>
              <a:gd name="connsiteX41" fmla="*/ 5074984 w 5470628"/>
              <a:gd name="connsiteY41" fmla="*/ 776941 h 3193741"/>
              <a:gd name="connsiteX42" fmla="*/ 5033348 w 5470628"/>
              <a:gd name="connsiteY42" fmla="*/ 805473 h 3193741"/>
              <a:gd name="connsiteX43" fmla="*/ 5116847 w 5470628"/>
              <a:gd name="connsiteY43" fmla="*/ 803426 h 3193741"/>
              <a:gd name="connsiteX44" fmla="*/ 5147902 w 5470628"/>
              <a:gd name="connsiteY44" fmla="*/ 833118 h 3193741"/>
              <a:gd name="connsiteX45" fmla="*/ 5161665 w 5470628"/>
              <a:gd name="connsiteY45" fmla="*/ 848297 h 3193741"/>
              <a:gd name="connsiteX46" fmla="*/ 5246520 w 5470628"/>
              <a:gd name="connsiteY46" fmla="*/ 942412 h 3193741"/>
              <a:gd name="connsiteX47" fmla="*/ 5235368 w 5470628"/>
              <a:gd name="connsiteY47" fmla="*/ 972946 h 3193741"/>
              <a:gd name="connsiteX48" fmla="*/ 5113739 w 5470628"/>
              <a:gd name="connsiteY48" fmla="*/ 1128845 h 3193741"/>
              <a:gd name="connsiteX49" fmla="*/ 5255034 w 5470628"/>
              <a:gd name="connsiteY49" fmla="*/ 1151117 h 3193741"/>
              <a:gd name="connsiteX50" fmla="*/ 5267513 w 5470628"/>
              <a:gd name="connsiteY50" fmla="*/ 1216275 h 3193741"/>
              <a:gd name="connsiteX51" fmla="*/ 5343113 w 5470628"/>
              <a:gd name="connsiteY51" fmla="*/ 1281854 h 3193741"/>
              <a:gd name="connsiteX52" fmla="*/ 5452014 w 5470628"/>
              <a:gd name="connsiteY52" fmla="*/ 1385543 h 3193741"/>
              <a:gd name="connsiteX53" fmla="*/ 5459078 w 5470628"/>
              <a:gd name="connsiteY53" fmla="*/ 1404268 h 3193741"/>
              <a:gd name="connsiteX54" fmla="*/ 5458838 w 5470628"/>
              <a:gd name="connsiteY54" fmla="*/ 1406644 h 3193741"/>
              <a:gd name="connsiteX55" fmla="*/ 5455752 w 5470628"/>
              <a:gd name="connsiteY55" fmla="*/ 1450751 h 3193741"/>
              <a:gd name="connsiteX56" fmla="*/ 5454594 w 5470628"/>
              <a:gd name="connsiteY56" fmla="*/ 1464662 h 3193741"/>
              <a:gd name="connsiteX57" fmla="*/ 5447215 w 5470628"/>
              <a:gd name="connsiteY57" fmla="*/ 1463321 h 3193741"/>
              <a:gd name="connsiteX58" fmla="*/ 5433934 w 5470628"/>
              <a:gd name="connsiteY58" fmla="*/ 1458428 h 3193741"/>
              <a:gd name="connsiteX59" fmla="*/ 5424276 w 5470628"/>
              <a:gd name="connsiteY59" fmla="*/ 1477014 h 3193741"/>
              <a:gd name="connsiteX60" fmla="*/ 5444628 w 5470628"/>
              <a:gd name="connsiteY60" fmla="*/ 1511562 h 3193741"/>
              <a:gd name="connsiteX61" fmla="*/ 5453752 w 5470628"/>
              <a:gd name="connsiteY61" fmla="*/ 1474786 h 3193741"/>
              <a:gd name="connsiteX62" fmla="*/ 5454594 w 5470628"/>
              <a:gd name="connsiteY62" fmla="*/ 1464662 h 3193741"/>
              <a:gd name="connsiteX63" fmla="*/ 5463208 w 5470628"/>
              <a:gd name="connsiteY63" fmla="*/ 1466226 h 3193741"/>
              <a:gd name="connsiteX64" fmla="*/ 5463164 w 5470628"/>
              <a:gd name="connsiteY64" fmla="*/ 1484226 h 3193741"/>
              <a:gd name="connsiteX65" fmla="*/ 5456160 w 5470628"/>
              <a:gd name="connsiteY65" fmla="*/ 1575885 h 3193741"/>
              <a:gd name="connsiteX66" fmla="*/ 5345636 w 5470628"/>
              <a:gd name="connsiteY66" fmla="*/ 1714543 h 3193741"/>
              <a:gd name="connsiteX67" fmla="*/ 5251319 w 5470628"/>
              <a:gd name="connsiteY67" fmla="*/ 1775792 h 3193741"/>
              <a:gd name="connsiteX68" fmla="*/ 5043512 w 5470628"/>
              <a:gd name="connsiteY68" fmla="*/ 2027305 h 3193741"/>
              <a:gd name="connsiteX69" fmla="*/ 4978144 w 5470628"/>
              <a:gd name="connsiteY69" fmla="*/ 2108535 h 3193741"/>
              <a:gd name="connsiteX70" fmla="*/ 5031476 w 5470628"/>
              <a:gd name="connsiteY70" fmla="*/ 2128173 h 3193741"/>
              <a:gd name="connsiteX71" fmla="*/ 4937389 w 5470628"/>
              <a:gd name="connsiteY71" fmla="*/ 2216441 h 3193741"/>
              <a:gd name="connsiteX72" fmla="*/ 4826122 w 5470628"/>
              <a:gd name="connsiteY72" fmla="*/ 2315331 h 3193741"/>
              <a:gd name="connsiteX73" fmla="*/ 2544647 w 5470628"/>
              <a:gd name="connsiteY73" fmla="*/ 3190975 h 3193741"/>
              <a:gd name="connsiteX74" fmla="*/ 1328257 w 5470628"/>
              <a:gd name="connsiteY74" fmla="*/ 3153006 h 3193741"/>
              <a:gd name="connsiteX75" fmla="*/ 977943 w 5470628"/>
              <a:gd name="connsiteY75" fmla="*/ 3082502 h 3193741"/>
              <a:gd name="connsiteX76" fmla="*/ 854473 w 5470628"/>
              <a:gd name="connsiteY76" fmla="*/ 2994250 h 3193741"/>
              <a:gd name="connsiteX77" fmla="*/ 811593 w 5470628"/>
              <a:gd name="connsiteY77" fmla="*/ 2970498 h 3193741"/>
              <a:gd name="connsiteX78" fmla="*/ 707024 w 5470628"/>
              <a:gd name="connsiteY78" fmla="*/ 2945439 h 3193741"/>
              <a:gd name="connsiteX79" fmla="*/ 523487 w 5470628"/>
              <a:gd name="connsiteY79" fmla="*/ 2886053 h 3193741"/>
              <a:gd name="connsiteX80" fmla="*/ 587884 w 5470628"/>
              <a:gd name="connsiteY80" fmla="*/ 2859746 h 3193741"/>
              <a:gd name="connsiteX81" fmla="*/ 779426 w 5470628"/>
              <a:gd name="connsiteY81" fmla="*/ 2885897 h 3193741"/>
              <a:gd name="connsiteX82" fmla="*/ 917288 w 5470628"/>
              <a:gd name="connsiteY82" fmla="*/ 2882248 h 3193741"/>
              <a:gd name="connsiteX83" fmla="*/ 718684 w 5470628"/>
              <a:gd name="connsiteY83" fmla="*/ 2819941 h 3193741"/>
              <a:gd name="connsiteX84" fmla="*/ 524650 w 5470628"/>
              <a:gd name="connsiteY84" fmla="*/ 2731220 h 3193741"/>
              <a:gd name="connsiteX85" fmla="*/ 670138 w 5470628"/>
              <a:gd name="connsiteY85" fmla="*/ 2735189 h 3193741"/>
              <a:gd name="connsiteX86" fmla="*/ 675382 w 5470628"/>
              <a:gd name="connsiteY86" fmla="*/ 2719369 h 3193741"/>
              <a:gd name="connsiteX87" fmla="*/ 542021 w 5470628"/>
              <a:gd name="connsiteY87" fmla="*/ 2601946 h 3193741"/>
              <a:gd name="connsiteX88" fmla="*/ 476895 w 5470628"/>
              <a:gd name="connsiteY88" fmla="*/ 2555976 h 3193741"/>
              <a:gd name="connsiteX89" fmla="*/ 188751 w 5470628"/>
              <a:gd name="connsiteY89" fmla="*/ 2428830 h 3193741"/>
              <a:gd name="connsiteX90" fmla="*/ 456762 w 5470628"/>
              <a:gd name="connsiteY90" fmla="*/ 2468731 h 3193741"/>
              <a:gd name="connsiteX91" fmla="*/ 174514 w 5470628"/>
              <a:gd name="connsiteY91" fmla="*/ 2345378 h 3193741"/>
              <a:gd name="connsiteX92" fmla="*/ 38827 w 5470628"/>
              <a:gd name="connsiteY92" fmla="*/ 2303685 h 3193741"/>
              <a:gd name="connsiteX93" fmla="*/ 3281 w 5470628"/>
              <a:gd name="connsiteY93" fmla="*/ 2273587 h 3193741"/>
              <a:gd name="connsiteX94" fmla="*/ 61590 w 5470628"/>
              <a:gd name="connsiteY94" fmla="*/ 2259170 h 3193741"/>
              <a:gd name="connsiteX95" fmla="*/ 242291 w 5470628"/>
              <a:gd name="connsiteY95" fmla="*/ 2250569 h 3193741"/>
              <a:gd name="connsiteX96" fmla="*/ 13205 w 5470628"/>
              <a:gd name="connsiteY96" fmla="*/ 2172263 h 3193741"/>
              <a:gd name="connsiteX97" fmla="*/ 180810 w 5470628"/>
              <a:gd name="connsiteY97" fmla="*/ 2168333 h 3193741"/>
              <a:gd name="connsiteX98" fmla="*/ 226020 w 5470628"/>
              <a:gd name="connsiteY98" fmla="*/ 2121100 h 3193741"/>
              <a:gd name="connsiteX99" fmla="*/ 299145 w 5470628"/>
              <a:gd name="connsiteY99" fmla="*/ 2044862 h 3193741"/>
              <a:gd name="connsiteX100" fmla="*/ 350236 w 5470628"/>
              <a:gd name="connsiteY100" fmla="*/ 2001187 h 3193741"/>
              <a:gd name="connsiteX101" fmla="*/ 365223 w 5470628"/>
              <a:gd name="connsiteY101" fmla="*/ 1881218 h 3193741"/>
              <a:gd name="connsiteX102" fmla="*/ 310707 w 5470628"/>
              <a:gd name="connsiteY102" fmla="*/ 1758752 h 3193741"/>
              <a:gd name="connsiteX103" fmla="*/ 181659 w 5470628"/>
              <a:gd name="connsiteY103" fmla="*/ 1709137 h 3193741"/>
              <a:gd name="connsiteX104" fmla="*/ 213063 w 5470628"/>
              <a:gd name="connsiteY104" fmla="*/ 1632021 h 3193741"/>
              <a:gd name="connsiteX105" fmla="*/ 481390 w 5470628"/>
              <a:gd name="connsiteY105" fmla="*/ 1644125 h 3193741"/>
              <a:gd name="connsiteX106" fmla="*/ 68930 w 5470628"/>
              <a:gd name="connsiteY106" fmla="*/ 1457537 h 3193741"/>
              <a:gd name="connsiteX107" fmla="*/ 135138 w 5470628"/>
              <a:gd name="connsiteY107" fmla="*/ 1440976 h 3193741"/>
              <a:gd name="connsiteX108" fmla="*/ 131611 w 5470628"/>
              <a:gd name="connsiteY108" fmla="*/ 1427642 h 3193741"/>
              <a:gd name="connsiteX109" fmla="*/ 130443 w 5470628"/>
              <a:gd name="connsiteY109" fmla="*/ 1343795 h 3193741"/>
              <a:gd name="connsiteX110" fmla="*/ 138930 w 5470628"/>
              <a:gd name="connsiteY110" fmla="*/ 1304094 h 3193741"/>
              <a:gd name="connsiteX111" fmla="*/ 118409 w 5470628"/>
              <a:gd name="connsiteY111" fmla="*/ 1262212 h 3193741"/>
              <a:gd name="connsiteX112" fmla="*/ 421410 w 5470628"/>
              <a:gd name="connsiteY112" fmla="*/ 1304757 h 3193741"/>
              <a:gd name="connsiteX113" fmla="*/ 655702 w 5470628"/>
              <a:gd name="connsiteY113" fmla="*/ 1291801 h 3193741"/>
              <a:gd name="connsiteX114" fmla="*/ 648299 w 5470628"/>
              <a:gd name="connsiteY114" fmla="*/ 1287715 h 3193741"/>
              <a:gd name="connsiteX115" fmla="*/ 531027 w 5470628"/>
              <a:gd name="connsiteY115" fmla="*/ 1193967 h 3193741"/>
              <a:gd name="connsiteX116" fmla="*/ 526433 w 5470628"/>
              <a:gd name="connsiteY116" fmla="*/ 1191913 h 3193741"/>
              <a:gd name="connsiteX117" fmla="*/ 504666 w 5470628"/>
              <a:gd name="connsiteY117" fmla="*/ 1177230 h 3193741"/>
              <a:gd name="connsiteX118" fmla="*/ 482307 w 5470628"/>
              <a:gd name="connsiteY118" fmla="*/ 1162618 h 3193741"/>
              <a:gd name="connsiteX119" fmla="*/ 479029 w 5470628"/>
              <a:gd name="connsiteY119" fmla="*/ 1162540 h 3193741"/>
              <a:gd name="connsiteX120" fmla="*/ 447663 w 5470628"/>
              <a:gd name="connsiteY120" fmla="*/ 1132649 h 3193741"/>
              <a:gd name="connsiteX121" fmla="*/ 438547 w 5470628"/>
              <a:gd name="connsiteY121" fmla="*/ 1110977 h 3193741"/>
              <a:gd name="connsiteX122" fmla="*/ 405343 w 5470628"/>
              <a:gd name="connsiteY122" fmla="*/ 1089612 h 3193741"/>
              <a:gd name="connsiteX123" fmla="*/ 371373 w 5470628"/>
              <a:gd name="connsiteY123" fmla="*/ 1070238 h 3193741"/>
              <a:gd name="connsiteX124" fmla="*/ 290358 w 5470628"/>
              <a:gd name="connsiteY124" fmla="*/ 1059884 h 3193741"/>
              <a:gd name="connsiteX125" fmla="*/ 235140 w 5470628"/>
              <a:gd name="connsiteY125" fmla="*/ 1029322 h 3193741"/>
              <a:gd name="connsiteX126" fmla="*/ 300494 w 5470628"/>
              <a:gd name="connsiteY126" fmla="*/ 1032083 h 3193741"/>
              <a:gd name="connsiteX127" fmla="*/ 239661 w 5470628"/>
              <a:gd name="connsiteY127" fmla="*/ 997457 h 3193741"/>
              <a:gd name="connsiteX128" fmla="*/ 204788 w 5470628"/>
              <a:gd name="connsiteY128" fmla="*/ 959211 h 3193741"/>
              <a:gd name="connsiteX129" fmla="*/ 207583 w 5470628"/>
              <a:gd name="connsiteY129" fmla="*/ 947009 h 3193741"/>
              <a:gd name="connsiteX130" fmla="*/ 223061 w 5470628"/>
              <a:gd name="connsiteY130" fmla="*/ 947033 h 3193741"/>
              <a:gd name="connsiteX131" fmla="*/ 280015 w 5470628"/>
              <a:gd name="connsiteY131" fmla="*/ 972164 h 3193741"/>
              <a:gd name="connsiteX132" fmla="*/ 353948 w 5470628"/>
              <a:gd name="connsiteY132" fmla="*/ 1006865 h 3193741"/>
              <a:gd name="connsiteX133" fmla="*/ 240466 w 5470628"/>
              <a:gd name="connsiteY133" fmla="*/ 939943 h 3193741"/>
              <a:gd name="connsiteX134" fmla="*/ 158812 w 5470628"/>
              <a:gd name="connsiteY134" fmla="*/ 891467 h 3193741"/>
              <a:gd name="connsiteX135" fmla="*/ 139551 w 5470628"/>
              <a:gd name="connsiteY135" fmla="*/ 855364 h 3193741"/>
              <a:gd name="connsiteX136" fmla="*/ 145731 w 5470628"/>
              <a:gd name="connsiteY136" fmla="*/ 844888 h 3193741"/>
              <a:gd name="connsiteX137" fmla="*/ 158154 w 5470628"/>
              <a:gd name="connsiteY137" fmla="*/ 848366 h 3193741"/>
              <a:gd name="connsiteX138" fmla="*/ 169370 w 5470628"/>
              <a:gd name="connsiteY138" fmla="*/ 856260 h 3193741"/>
              <a:gd name="connsiteX139" fmla="*/ 288295 w 5470628"/>
              <a:gd name="connsiteY139" fmla="*/ 915169 h 3193741"/>
              <a:gd name="connsiteX140" fmla="*/ 462694 w 5470628"/>
              <a:gd name="connsiteY140" fmla="*/ 994643 h 3193741"/>
              <a:gd name="connsiteX141" fmla="*/ 531910 w 5470628"/>
              <a:gd name="connsiteY141" fmla="*/ 1006664 h 3193741"/>
              <a:gd name="connsiteX142" fmla="*/ 333940 w 5470628"/>
              <a:gd name="connsiteY142" fmla="*/ 893507 h 3193741"/>
              <a:gd name="connsiteX143" fmla="*/ 181443 w 5470628"/>
              <a:gd name="connsiteY143" fmla="*/ 746608 h 3193741"/>
              <a:gd name="connsiteX144" fmla="*/ 162678 w 5470628"/>
              <a:gd name="connsiteY144" fmla="*/ 737018 h 3193741"/>
              <a:gd name="connsiteX145" fmla="*/ 156307 w 5470628"/>
              <a:gd name="connsiteY145" fmla="*/ 730435 h 3193741"/>
              <a:gd name="connsiteX146" fmla="*/ 117227 w 5470628"/>
              <a:gd name="connsiteY146" fmla="*/ 677515 h 3193741"/>
              <a:gd name="connsiteX147" fmla="*/ 113655 w 5470628"/>
              <a:gd name="connsiteY147" fmla="*/ 663474 h 3193741"/>
              <a:gd name="connsiteX148" fmla="*/ 115226 w 5470628"/>
              <a:gd name="connsiteY148" fmla="*/ 636712 h 3193741"/>
              <a:gd name="connsiteX149" fmla="*/ 105067 w 5470628"/>
              <a:gd name="connsiteY149" fmla="*/ 622046 h 3193741"/>
              <a:gd name="connsiteX150" fmla="*/ 104113 w 5470628"/>
              <a:gd name="connsiteY150" fmla="*/ 611722 h 3193741"/>
              <a:gd name="connsiteX151" fmla="*/ 118895 w 5470628"/>
              <a:gd name="connsiteY151" fmla="*/ 610169 h 3193741"/>
              <a:gd name="connsiteX152" fmla="*/ 163095 w 5470628"/>
              <a:gd name="connsiteY152" fmla="*/ 640642 h 3193741"/>
              <a:gd name="connsiteX153" fmla="*/ 185766 w 5470628"/>
              <a:gd name="connsiteY153" fmla="*/ 641454 h 3193741"/>
              <a:gd name="connsiteX154" fmla="*/ 212892 w 5470628"/>
              <a:gd name="connsiteY154" fmla="*/ 637457 h 3193741"/>
              <a:gd name="connsiteX155" fmla="*/ 223932 w 5470628"/>
              <a:gd name="connsiteY155" fmla="*/ 647271 h 3193741"/>
              <a:gd name="connsiteX156" fmla="*/ 287167 w 5470628"/>
              <a:gd name="connsiteY156" fmla="*/ 691571 h 3193741"/>
              <a:gd name="connsiteX157" fmla="*/ 330380 w 5470628"/>
              <a:gd name="connsiteY157" fmla="*/ 692506 h 3193741"/>
              <a:gd name="connsiteX158" fmla="*/ 296172 w 5470628"/>
              <a:gd name="connsiteY158" fmla="*/ 688108 h 3193741"/>
              <a:gd name="connsiteX159" fmla="*/ 286974 w 5470628"/>
              <a:gd name="connsiteY159" fmla="*/ 674512 h 3193741"/>
              <a:gd name="connsiteX160" fmla="*/ 286166 w 5470628"/>
              <a:gd name="connsiteY160" fmla="*/ 661798 h 3193741"/>
              <a:gd name="connsiteX161" fmla="*/ 236268 w 5470628"/>
              <a:gd name="connsiteY161" fmla="*/ 635338 h 3193741"/>
              <a:gd name="connsiteX162" fmla="*/ 231734 w 5470628"/>
              <a:gd name="connsiteY162" fmla="*/ 634225 h 3193741"/>
              <a:gd name="connsiteX163" fmla="*/ 221253 w 5470628"/>
              <a:gd name="connsiteY163" fmla="*/ 623870 h 3193741"/>
              <a:gd name="connsiteX164" fmla="*/ 237564 w 5470628"/>
              <a:gd name="connsiteY164" fmla="*/ 613590 h 3193741"/>
              <a:gd name="connsiteX165" fmla="*/ 282259 w 5470628"/>
              <a:gd name="connsiteY165" fmla="*/ 619091 h 3193741"/>
              <a:gd name="connsiteX166" fmla="*/ 370630 w 5470628"/>
              <a:gd name="connsiteY166" fmla="*/ 665566 h 3193741"/>
              <a:gd name="connsiteX167" fmla="*/ 498017 w 5470628"/>
              <a:gd name="connsiteY167" fmla="*/ 740532 h 3193741"/>
              <a:gd name="connsiteX168" fmla="*/ 918036 w 5470628"/>
              <a:gd name="connsiteY168" fmla="*/ 924307 h 3193741"/>
              <a:gd name="connsiteX169" fmla="*/ 1079304 w 5470628"/>
              <a:gd name="connsiteY169" fmla="*/ 984494 h 3193741"/>
              <a:gd name="connsiteX170" fmla="*/ 1079935 w 5470628"/>
              <a:gd name="connsiteY170" fmla="*/ 980383 h 3193741"/>
              <a:gd name="connsiteX171" fmla="*/ 1079695 w 5470628"/>
              <a:gd name="connsiteY171" fmla="*/ 976616 h 3193741"/>
              <a:gd name="connsiteX172" fmla="*/ 966178 w 5470628"/>
              <a:gd name="connsiteY172" fmla="*/ 937219 h 3193741"/>
              <a:gd name="connsiteX173" fmla="*/ 720106 w 5470628"/>
              <a:gd name="connsiteY173" fmla="*/ 807112 h 3193741"/>
              <a:gd name="connsiteX174" fmla="*/ 698823 w 5470628"/>
              <a:gd name="connsiteY174" fmla="*/ 804708 h 3193741"/>
              <a:gd name="connsiteX175" fmla="*/ 664513 w 5470628"/>
              <a:gd name="connsiteY175" fmla="*/ 784663 h 3193741"/>
              <a:gd name="connsiteX176" fmla="*/ 660380 w 5470628"/>
              <a:gd name="connsiteY176" fmla="*/ 771165 h 3193741"/>
              <a:gd name="connsiteX177" fmla="*/ 584959 w 5470628"/>
              <a:gd name="connsiteY177" fmla="*/ 722409 h 3193741"/>
              <a:gd name="connsiteX178" fmla="*/ 435649 w 5470628"/>
              <a:gd name="connsiteY178" fmla="*/ 639659 h 3193741"/>
              <a:gd name="connsiteX179" fmla="*/ 404944 w 5470628"/>
              <a:gd name="connsiteY179" fmla="*/ 606128 h 3193741"/>
              <a:gd name="connsiteX180" fmla="*/ 408476 w 5470628"/>
              <a:gd name="connsiteY180" fmla="*/ 591466 h 3193741"/>
              <a:gd name="connsiteX181" fmla="*/ 425225 w 5470628"/>
              <a:gd name="connsiteY181" fmla="*/ 592759 h 3193741"/>
              <a:gd name="connsiteX182" fmla="*/ 487115 w 5470628"/>
              <a:gd name="connsiteY182" fmla="*/ 620614 h 3193741"/>
              <a:gd name="connsiteX183" fmla="*/ 550277 w 5470628"/>
              <a:gd name="connsiteY183" fmla="*/ 649738 h 3193741"/>
              <a:gd name="connsiteX184" fmla="*/ 544421 w 5470628"/>
              <a:gd name="connsiteY184" fmla="*/ 641907 h 3193741"/>
              <a:gd name="connsiteX185" fmla="*/ 431905 w 5470628"/>
              <a:gd name="connsiteY185" fmla="*/ 580799 h 3193741"/>
              <a:gd name="connsiteX186" fmla="*/ 351177 w 5470628"/>
              <a:gd name="connsiteY186" fmla="*/ 528177 h 3193741"/>
              <a:gd name="connsiteX187" fmla="*/ 339749 w 5470628"/>
              <a:gd name="connsiteY187" fmla="*/ 498244 h 3193741"/>
              <a:gd name="connsiteX188" fmla="*/ 346313 w 5470628"/>
              <a:gd name="connsiteY188" fmla="*/ 489145 h 3193741"/>
              <a:gd name="connsiteX189" fmla="*/ 356579 w 5470628"/>
              <a:gd name="connsiteY189" fmla="*/ 491460 h 3193741"/>
              <a:gd name="connsiteX190" fmla="*/ 371505 w 5470628"/>
              <a:gd name="connsiteY190" fmla="*/ 501516 h 3193741"/>
              <a:gd name="connsiteX191" fmla="*/ 476275 w 5470628"/>
              <a:gd name="connsiteY191" fmla="*/ 553122 h 3193741"/>
              <a:gd name="connsiteX192" fmla="*/ 649952 w 5470628"/>
              <a:gd name="connsiteY192" fmla="*/ 635294 h 3193741"/>
              <a:gd name="connsiteX193" fmla="*/ 727161 w 5470628"/>
              <a:gd name="connsiteY193" fmla="*/ 651328 h 3193741"/>
              <a:gd name="connsiteX194" fmla="*/ 722417 w 5470628"/>
              <a:gd name="connsiteY194" fmla="*/ 646921 h 3193741"/>
              <a:gd name="connsiteX195" fmla="*/ 546079 w 5470628"/>
              <a:gd name="connsiteY195" fmla="*/ 546328 h 3193741"/>
              <a:gd name="connsiteX196" fmla="*/ 378182 w 5470628"/>
              <a:gd name="connsiteY196" fmla="*/ 386585 h 3193741"/>
              <a:gd name="connsiteX197" fmla="*/ 370158 w 5470628"/>
              <a:gd name="connsiteY197" fmla="*/ 382100 h 3193741"/>
              <a:gd name="connsiteX198" fmla="*/ 357861 w 5470628"/>
              <a:gd name="connsiteY198" fmla="*/ 371252 h 3193741"/>
              <a:gd name="connsiteX199" fmla="*/ 331313 w 5470628"/>
              <a:gd name="connsiteY199" fmla="*/ 328203 h 3193741"/>
              <a:gd name="connsiteX200" fmla="*/ 319354 w 5470628"/>
              <a:gd name="connsiteY200" fmla="*/ 299282 h 3193741"/>
              <a:gd name="connsiteX201" fmla="*/ 319682 w 5470628"/>
              <a:gd name="connsiteY201" fmla="*/ 285719 h 3193741"/>
              <a:gd name="connsiteX202" fmla="*/ 306391 w 5470628"/>
              <a:gd name="connsiteY202" fmla="*/ 268585 h 3193741"/>
              <a:gd name="connsiteX203" fmla="*/ 303294 w 5470628"/>
              <a:gd name="connsiteY203" fmla="*/ 257334 h 3193741"/>
              <a:gd name="connsiteX204" fmla="*/ 319242 w 5470628"/>
              <a:gd name="connsiteY204" fmla="*/ 255403 h 3193741"/>
              <a:gd name="connsiteX205" fmla="*/ 364093 w 5470628"/>
              <a:gd name="connsiteY205" fmla="*/ 286745 h 3193741"/>
              <a:gd name="connsiteX206" fmla="*/ 385301 w 5470628"/>
              <a:gd name="connsiteY206" fmla="*/ 287973 h 3193741"/>
              <a:gd name="connsiteX207" fmla="*/ 417598 w 5470628"/>
              <a:gd name="connsiteY207" fmla="*/ 285722 h 3193741"/>
              <a:gd name="connsiteX208" fmla="*/ 440155 w 5470628"/>
              <a:gd name="connsiteY208" fmla="*/ 308139 h 3193741"/>
              <a:gd name="connsiteX209" fmla="*/ 534406 w 5470628"/>
              <a:gd name="connsiteY209" fmla="*/ 339430 h 3193741"/>
              <a:gd name="connsiteX210" fmla="*/ 495633 w 5470628"/>
              <a:gd name="connsiteY210" fmla="*/ 333450 h 3193741"/>
              <a:gd name="connsiteX211" fmla="*/ 486289 w 5470628"/>
              <a:gd name="connsiteY211" fmla="*/ 322243 h 3193741"/>
              <a:gd name="connsiteX212" fmla="*/ 484000 w 5470628"/>
              <a:gd name="connsiteY212" fmla="*/ 304964 h 3193741"/>
              <a:gd name="connsiteX213" fmla="*/ 436911 w 5470628"/>
              <a:gd name="connsiteY213" fmla="*/ 280536 h 3193741"/>
              <a:gd name="connsiteX214" fmla="*/ 426865 w 5470628"/>
              <a:gd name="connsiteY214" fmla="*/ 277007 h 3193741"/>
              <a:gd name="connsiteX215" fmla="*/ 420654 w 5470628"/>
              <a:gd name="connsiteY215" fmla="*/ 268269 h 3193741"/>
              <a:gd name="connsiteX216" fmla="*/ 432329 w 5470628"/>
              <a:gd name="connsiteY216" fmla="*/ 259975 h 3193741"/>
              <a:gd name="connsiteX217" fmla="*/ 447672 w 5470628"/>
              <a:gd name="connsiteY217" fmla="*/ 257879 h 3193741"/>
              <a:gd name="connsiteX218" fmla="*/ 502242 w 5470628"/>
              <a:gd name="connsiteY218" fmla="*/ 273572 h 3193741"/>
              <a:gd name="connsiteX219" fmla="*/ 659874 w 5470628"/>
              <a:gd name="connsiteY219" fmla="*/ 365516 h 3193741"/>
              <a:gd name="connsiteX220" fmla="*/ 829177 w 5470628"/>
              <a:gd name="connsiteY220" fmla="*/ 444421 h 3193741"/>
              <a:gd name="connsiteX221" fmla="*/ 1231903 w 5470628"/>
              <a:gd name="connsiteY221" fmla="*/ 613682 h 3193741"/>
              <a:gd name="connsiteX222" fmla="*/ 1911736 w 5470628"/>
              <a:gd name="connsiteY222" fmla="*/ 685084 h 3193741"/>
              <a:gd name="connsiteX223" fmla="*/ 2564313 w 5470628"/>
              <a:gd name="connsiteY223" fmla="*/ 632143 h 3193741"/>
              <a:gd name="connsiteX224" fmla="*/ 2657304 w 5470628"/>
              <a:gd name="connsiteY224" fmla="*/ 624913 h 3193741"/>
              <a:gd name="connsiteX225" fmla="*/ 4235818 w 5470628"/>
              <a:gd name="connsiteY225" fmla="*/ 259339 h 3193741"/>
              <a:gd name="connsiteX226" fmla="*/ 4460331 w 5470628"/>
              <a:gd name="connsiteY226" fmla="*/ 176864 h 3193741"/>
              <a:gd name="connsiteX227" fmla="*/ 4499578 w 5470628"/>
              <a:gd name="connsiteY227" fmla="*/ 186791 h 3193741"/>
              <a:gd name="connsiteX228" fmla="*/ 4514640 w 5470628"/>
              <a:gd name="connsiteY228" fmla="*/ 188841 h 3193741"/>
              <a:gd name="connsiteX229" fmla="*/ 4516523 w 5470628"/>
              <a:gd name="connsiteY229" fmla="*/ 189988 h 3193741"/>
              <a:gd name="connsiteX230" fmla="*/ 4518126 w 5470628"/>
              <a:gd name="connsiteY230" fmla="*/ 189316 h 3193741"/>
              <a:gd name="connsiteX231" fmla="*/ 4514640 w 5470628"/>
              <a:gd name="connsiteY231" fmla="*/ 188841 h 3193741"/>
              <a:gd name="connsiteX232" fmla="*/ 4511569 w 5470628"/>
              <a:gd name="connsiteY232" fmla="*/ 186970 h 3193741"/>
              <a:gd name="connsiteX233" fmla="*/ 4510888 w 5470628"/>
              <a:gd name="connsiteY233" fmla="*/ 180943 h 3193741"/>
              <a:gd name="connsiteX234" fmla="*/ 4531865 w 5470628"/>
              <a:gd name="connsiteY234" fmla="*/ 155151 h 3193741"/>
              <a:gd name="connsiteX235" fmla="*/ 4573441 w 5470628"/>
              <a:gd name="connsiteY235" fmla="*/ 139676 h 3193741"/>
              <a:gd name="connsiteX236" fmla="*/ 4594964 w 5470628"/>
              <a:gd name="connsiteY236" fmla="*/ 145847 h 3193741"/>
              <a:gd name="connsiteX237" fmla="*/ 4623059 w 5470628"/>
              <a:gd name="connsiteY237" fmla="*/ 152410 h 3193741"/>
              <a:gd name="connsiteX238" fmla="*/ 4748356 w 5470628"/>
              <a:gd name="connsiteY238" fmla="*/ 68192 h 3193741"/>
              <a:gd name="connsiteX239" fmla="*/ 4833812 w 5470628"/>
              <a:gd name="connsiteY239" fmla="*/ 8017 h 3193741"/>
              <a:gd name="connsiteX240" fmla="*/ 4850908 w 5470628"/>
              <a:gd name="connsiteY240" fmla="*/ 727 h 319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5470628" h="3193741">
                <a:moveTo>
                  <a:pt x="5462602" y="1413608"/>
                </a:moveTo>
                <a:lnTo>
                  <a:pt x="5465724" y="1421881"/>
                </a:lnTo>
                <a:cubicBezTo>
                  <a:pt x="5472118" y="1444281"/>
                  <a:pt x="5472640" y="1461744"/>
                  <a:pt x="5465025" y="1466556"/>
                </a:cubicBezTo>
                <a:lnTo>
                  <a:pt x="5463208" y="1466226"/>
                </a:lnTo>
                <a:lnTo>
                  <a:pt x="5463242" y="1451866"/>
                </a:lnTo>
                <a:cubicBezTo>
                  <a:pt x="5463190" y="1441487"/>
                  <a:pt x="5463068" y="1431722"/>
                  <a:pt x="5462894" y="1423194"/>
                </a:cubicBezTo>
                <a:close/>
                <a:moveTo>
                  <a:pt x="5461417" y="1391849"/>
                </a:moveTo>
                <a:cubicBezTo>
                  <a:pt x="5461710" y="1392940"/>
                  <a:pt x="5461992" y="1396513"/>
                  <a:pt x="5462246" y="1401944"/>
                </a:cubicBezTo>
                <a:lnTo>
                  <a:pt x="5462602" y="1413608"/>
                </a:lnTo>
                <a:lnTo>
                  <a:pt x="5459078" y="1404268"/>
                </a:lnTo>
                <a:lnTo>
                  <a:pt x="5460137" y="1393780"/>
                </a:lnTo>
                <a:cubicBezTo>
                  <a:pt x="5460561" y="1391114"/>
                  <a:pt x="5460982" y="1390270"/>
                  <a:pt x="5461417" y="1391849"/>
                </a:cubicBezTo>
                <a:close/>
                <a:moveTo>
                  <a:pt x="614271" y="1052206"/>
                </a:moveTo>
                <a:cubicBezTo>
                  <a:pt x="613444" y="1053256"/>
                  <a:pt x="612323" y="1054339"/>
                  <a:pt x="611497" y="1055389"/>
                </a:cubicBezTo>
                <a:cubicBezTo>
                  <a:pt x="617673" y="1058912"/>
                  <a:pt x="624115" y="1061928"/>
                  <a:pt x="630277" y="1065215"/>
                </a:cubicBezTo>
                <a:cubicBezTo>
                  <a:pt x="637469" y="1066004"/>
                  <a:pt x="644958" y="1066759"/>
                  <a:pt x="651856" y="1067584"/>
                </a:cubicBezTo>
                <a:cubicBezTo>
                  <a:pt x="639327" y="1062458"/>
                  <a:pt x="626799" y="1057332"/>
                  <a:pt x="614271" y="1052206"/>
                </a:cubicBezTo>
                <a:close/>
                <a:moveTo>
                  <a:pt x="810628" y="695550"/>
                </a:moveTo>
                <a:cubicBezTo>
                  <a:pt x="873537" y="739416"/>
                  <a:pt x="951215" y="767494"/>
                  <a:pt x="1033084" y="791270"/>
                </a:cubicBezTo>
                <a:cubicBezTo>
                  <a:pt x="1034205" y="790184"/>
                  <a:pt x="1035031" y="789136"/>
                  <a:pt x="1036153" y="788050"/>
                </a:cubicBezTo>
                <a:cubicBezTo>
                  <a:pt x="960983" y="757296"/>
                  <a:pt x="885798" y="726306"/>
                  <a:pt x="810628" y="695550"/>
                </a:cubicBezTo>
                <a:close/>
                <a:moveTo>
                  <a:pt x="4850908" y="727"/>
                </a:moveTo>
                <a:cubicBezTo>
                  <a:pt x="4858191" y="2929"/>
                  <a:pt x="4860543" y="7152"/>
                  <a:pt x="4858584" y="13795"/>
                </a:cubicBezTo>
                <a:cubicBezTo>
                  <a:pt x="4855845" y="22194"/>
                  <a:pt x="4850092" y="30008"/>
                  <a:pt x="4843408" y="37224"/>
                </a:cubicBezTo>
                <a:cubicBezTo>
                  <a:pt x="4812232" y="71132"/>
                  <a:pt x="4827067" y="79774"/>
                  <a:pt x="4871062" y="78954"/>
                </a:cubicBezTo>
                <a:cubicBezTo>
                  <a:pt x="4910302" y="78234"/>
                  <a:pt x="4949507" y="72299"/>
                  <a:pt x="4989038" y="66799"/>
                </a:cubicBezTo>
                <a:cubicBezTo>
                  <a:pt x="5008500" y="63967"/>
                  <a:pt x="5009491" y="65509"/>
                  <a:pt x="5002636" y="79388"/>
                </a:cubicBezTo>
                <a:cubicBezTo>
                  <a:pt x="4991594" y="102315"/>
                  <a:pt x="4990844" y="123285"/>
                  <a:pt x="5008332" y="140859"/>
                </a:cubicBezTo>
                <a:cubicBezTo>
                  <a:pt x="5012456" y="144868"/>
                  <a:pt x="5015428" y="149491"/>
                  <a:pt x="5014326" y="155555"/>
                </a:cubicBezTo>
                <a:cubicBezTo>
                  <a:pt x="5009356" y="180357"/>
                  <a:pt x="5019874" y="200674"/>
                  <a:pt x="5030704" y="221190"/>
                </a:cubicBezTo>
                <a:cubicBezTo>
                  <a:pt x="5048958" y="255517"/>
                  <a:pt x="5072099" y="287116"/>
                  <a:pt x="5097262" y="317759"/>
                </a:cubicBezTo>
                <a:cubicBezTo>
                  <a:pt x="5115004" y="339336"/>
                  <a:pt x="5126222" y="365974"/>
                  <a:pt x="5165084" y="373367"/>
                </a:cubicBezTo>
                <a:cubicBezTo>
                  <a:pt x="5174420" y="375083"/>
                  <a:pt x="5177498" y="381353"/>
                  <a:pt x="5174137" y="389353"/>
                </a:cubicBezTo>
                <a:cubicBezTo>
                  <a:pt x="5163026" y="415847"/>
                  <a:pt x="5172067" y="436343"/>
                  <a:pt x="5192507" y="453561"/>
                </a:cubicBezTo>
                <a:cubicBezTo>
                  <a:pt x="5199734" y="459565"/>
                  <a:pt x="5197020" y="463690"/>
                  <a:pt x="5187160" y="467732"/>
                </a:cubicBezTo>
                <a:cubicBezTo>
                  <a:pt x="5175836" y="472188"/>
                  <a:pt x="5167025" y="478711"/>
                  <a:pt x="5160106" y="486904"/>
                </a:cubicBezTo>
                <a:cubicBezTo>
                  <a:pt x="5148744" y="500143"/>
                  <a:pt x="5143396" y="514315"/>
                  <a:pt x="5138948" y="528614"/>
                </a:cubicBezTo>
                <a:cubicBezTo>
                  <a:pt x="5132042" y="551041"/>
                  <a:pt x="5123894" y="572670"/>
                  <a:pt x="5097016" y="589923"/>
                </a:cubicBezTo>
                <a:cubicBezTo>
                  <a:pt x="5089016" y="595163"/>
                  <a:pt x="5082598" y="601872"/>
                  <a:pt x="5075869" y="608381"/>
                </a:cubicBezTo>
                <a:cubicBezTo>
                  <a:pt x="5078016" y="614052"/>
                  <a:pt x="5083322" y="617918"/>
                  <a:pt x="5093172" y="618385"/>
                </a:cubicBezTo>
                <a:cubicBezTo>
                  <a:pt x="5155867" y="621469"/>
                  <a:pt x="5153088" y="652648"/>
                  <a:pt x="5153518" y="687474"/>
                </a:cubicBezTo>
                <a:cubicBezTo>
                  <a:pt x="5154177" y="730575"/>
                  <a:pt x="5118812" y="754787"/>
                  <a:pt x="5074984" y="776941"/>
                </a:cubicBezTo>
                <a:cubicBezTo>
                  <a:pt x="5059986" y="784451"/>
                  <a:pt x="5038116" y="786863"/>
                  <a:pt x="5033348" y="805473"/>
                </a:cubicBezTo>
                <a:cubicBezTo>
                  <a:pt x="5059529" y="819384"/>
                  <a:pt x="5089376" y="802009"/>
                  <a:pt x="5116847" y="803426"/>
                </a:cubicBezTo>
                <a:cubicBezTo>
                  <a:pt x="5139548" y="804709"/>
                  <a:pt x="5176330" y="798120"/>
                  <a:pt x="5147902" y="833118"/>
                </a:cubicBezTo>
                <a:cubicBezTo>
                  <a:pt x="5139626" y="843373"/>
                  <a:pt x="5150382" y="848714"/>
                  <a:pt x="5161665" y="848297"/>
                </a:cubicBezTo>
                <a:cubicBezTo>
                  <a:pt x="5253064" y="844106"/>
                  <a:pt x="5215170" y="912756"/>
                  <a:pt x="5246520" y="942412"/>
                </a:cubicBezTo>
                <a:cubicBezTo>
                  <a:pt x="5255359" y="950358"/>
                  <a:pt x="5247812" y="967405"/>
                  <a:pt x="5235368" y="972946"/>
                </a:cubicBezTo>
                <a:cubicBezTo>
                  <a:pt x="5156387" y="1008610"/>
                  <a:pt x="5149354" y="1071149"/>
                  <a:pt x="5113739" y="1128845"/>
                </a:cubicBezTo>
                <a:cubicBezTo>
                  <a:pt x="5157305" y="1144685"/>
                  <a:pt x="5208388" y="1143005"/>
                  <a:pt x="5255034" y="1151117"/>
                </a:cubicBezTo>
                <a:cubicBezTo>
                  <a:pt x="5303482" y="1159484"/>
                  <a:pt x="5304156" y="1170079"/>
                  <a:pt x="5267513" y="1216275"/>
                </a:cubicBezTo>
                <a:cubicBezTo>
                  <a:pt x="5370269" y="1212844"/>
                  <a:pt x="5370269" y="1212844"/>
                  <a:pt x="5343113" y="1281854"/>
                </a:cubicBezTo>
                <a:cubicBezTo>
                  <a:pt x="5386272" y="1279593"/>
                  <a:pt x="5428618" y="1334726"/>
                  <a:pt x="5452014" y="1385543"/>
                </a:cubicBezTo>
                <a:lnTo>
                  <a:pt x="5459078" y="1404268"/>
                </a:lnTo>
                <a:lnTo>
                  <a:pt x="5458838" y="1406644"/>
                </a:lnTo>
                <a:cubicBezTo>
                  <a:pt x="5457942" y="1418063"/>
                  <a:pt x="5456960" y="1434367"/>
                  <a:pt x="5455752" y="1450751"/>
                </a:cubicBezTo>
                <a:lnTo>
                  <a:pt x="5454594" y="1464662"/>
                </a:lnTo>
                <a:lnTo>
                  <a:pt x="5447215" y="1463321"/>
                </a:lnTo>
                <a:cubicBezTo>
                  <a:pt x="5441256" y="1459714"/>
                  <a:pt x="5437002" y="1458345"/>
                  <a:pt x="5433934" y="1458428"/>
                </a:cubicBezTo>
                <a:cubicBezTo>
                  <a:pt x="5424728" y="1458676"/>
                  <a:pt x="5426188" y="1471978"/>
                  <a:pt x="5424276" y="1477014"/>
                </a:cubicBezTo>
                <a:cubicBezTo>
                  <a:pt x="5417851" y="1492977"/>
                  <a:pt x="5433852" y="1501241"/>
                  <a:pt x="5444628" y="1511562"/>
                </a:cubicBezTo>
                <a:cubicBezTo>
                  <a:pt x="5448663" y="1515344"/>
                  <a:pt x="5451544" y="1497678"/>
                  <a:pt x="5453752" y="1474786"/>
                </a:cubicBezTo>
                <a:lnTo>
                  <a:pt x="5454594" y="1464662"/>
                </a:lnTo>
                <a:lnTo>
                  <a:pt x="5463208" y="1466226"/>
                </a:lnTo>
                <a:lnTo>
                  <a:pt x="5463164" y="1484226"/>
                </a:lnTo>
                <a:cubicBezTo>
                  <a:pt x="5462722" y="1528173"/>
                  <a:pt x="5460824" y="1571999"/>
                  <a:pt x="5456160" y="1575885"/>
                </a:cubicBezTo>
                <a:cubicBezTo>
                  <a:pt x="5406708" y="1617226"/>
                  <a:pt x="5442751" y="1692579"/>
                  <a:pt x="5345636" y="1714543"/>
                </a:cubicBezTo>
                <a:cubicBezTo>
                  <a:pt x="5301930" y="1724583"/>
                  <a:pt x="5282493" y="1755882"/>
                  <a:pt x="5251319" y="1775792"/>
                </a:cubicBezTo>
                <a:cubicBezTo>
                  <a:pt x="5142610" y="1844714"/>
                  <a:pt x="5072132" y="1925140"/>
                  <a:pt x="5043512" y="2027305"/>
                </a:cubicBezTo>
                <a:cubicBezTo>
                  <a:pt x="5035488" y="2055562"/>
                  <a:pt x="5000258" y="2081893"/>
                  <a:pt x="4978144" y="2108535"/>
                </a:cubicBezTo>
                <a:cubicBezTo>
                  <a:pt x="4990785" y="2124798"/>
                  <a:pt x="5050411" y="2079615"/>
                  <a:pt x="5031476" y="2128173"/>
                </a:cubicBezTo>
                <a:cubicBezTo>
                  <a:pt x="5017138" y="2164787"/>
                  <a:pt x="4975973" y="2191363"/>
                  <a:pt x="4937389" y="2216441"/>
                </a:cubicBezTo>
                <a:cubicBezTo>
                  <a:pt x="4893079" y="2245058"/>
                  <a:pt x="4843760" y="2269776"/>
                  <a:pt x="4826122" y="2315331"/>
                </a:cubicBezTo>
                <a:cubicBezTo>
                  <a:pt x="4822276" y="2325050"/>
                  <a:pt x="3896510" y="3112888"/>
                  <a:pt x="2544647" y="3190975"/>
                </a:cubicBezTo>
                <a:cubicBezTo>
                  <a:pt x="2323734" y="3203734"/>
                  <a:pt x="1445947" y="3169121"/>
                  <a:pt x="1328257" y="3153006"/>
                </a:cubicBezTo>
                <a:cubicBezTo>
                  <a:pt x="1207258" y="3136344"/>
                  <a:pt x="1101756" y="3091943"/>
                  <a:pt x="977943" y="3082502"/>
                </a:cubicBezTo>
                <a:cubicBezTo>
                  <a:pt x="912454" y="3077622"/>
                  <a:pt x="848655" y="3061861"/>
                  <a:pt x="854473" y="2994250"/>
                </a:cubicBezTo>
                <a:cubicBezTo>
                  <a:pt x="856228" y="2975057"/>
                  <a:pt x="838125" y="2961827"/>
                  <a:pt x="811593" y="2970498"/>
                </a:cubicBezTo>
                <a:cubicBezTo>
                  <a:pt x="761454" y="2987010"/>
                  <a:pt x="736680" y="2962489"/>
                  <a:pt x="707024" y="2945439"/>
                </a:cubicBezTo>
                <a:cubicBezTo>
                  <a:pt x="654509" y="2915262"/>
                  <a:pt x="603913" y="2882480"/>
                  <a:pt x="523487" y="2886053"/>
                </a:cubicBezTo>
                <a:cubicBezTo>
                  <a:pt x="537017" y="2855468"/>
                  <a:pt x="563587" y="2856758"/>
                  <a:pt x="587884" y="2859746"/>
                </a:cubicBezTo>
                <a:cubicBezTo>
                  <a:pt x="652090" y="2867866"/>
                  <a:pt x="715235" y="2878012"/>
                  <a:pt x="779426" y="2885897"/>
                </a:cubicBezTo>
                <a:cubicBezTo>
                  <a:pt x="821123" y="2891048"/>
                  <a:pt x="863074" y="2900202"/>
                  <a:pt x="917288" y="2882248"/>
                </a:cubicBezTo>
                <a:cubicBezTo>
                  <a:pt x="866364" y="2830288"/>
                  <a:pt x="785092" y="2829930"/>
                  <a:pt x="718684" y="2819941"/>
                </a:cubicBezTo>
                <a:cubicBezTo>
                  <a:pt x="635747" y="2807447"/>
                  <a:pt x="584925" y="2771133"/>
                  <a:pt x="524650" y="2731220"/>
                </a:cubicBezTo>
                <a:cubicBezTo>
                  <a:pt x="584180" y="2712621"/>
                  <a:pt x="623299" y="2742760"/>
                  <a:pt x="670138" y="2735189"/>
                </a:cubicBezTo>
                <a:cubicBezTo>
                  <a:pt x="672406" y="2728745"/>
                  <a:pt x="675988" y="2719532"/>
                  <a:pt x="675382" y="2719369"/>
                </a:cubicBezTo>
                <a:cubicBezTo>
                  <a:pt x="596666" y="2703042"/>
                  <a:pt x="557844" y="2658869"/>
                  <a:pt x="542021" y="2601946"/>
                </a:cubicBezTo>
                <a:cubicBezTo>
                  <a:pt x="533902" y="2572560"/>
                  <a:pt x="505246" y="2566541"/>
                  <a:pt x="476895" y="2555976"/>
                </a:cubicBezTo>
                <a:cubicBezTo>
                  <a:pt x="377189" y="2518466"/>
                  <a:pt x="272496" y="2486779"/>
                  <a:pt x="188751" y="2428830"/>
                </a:cubicBezTo>
                <a:cubicBezTo>
                  <a:pt x="280875" y="2426687"/>
                  <a:pt x="357216" y="2461808"/>
                  <a:pt x="456762" y="2468731"/>
                </a:cubicBezTo>
                <a:cubicBezTo>
                  <a:pt x="373794" y="2404281"/>
                  <a:pt x="269816" y="2379152"/>
                  <a:pt x="174514" y="2345378"/>
                </a:cubicBezTo>
                <a:cubicBezTo>
                  <a:pt x="130977" y="2330009"/>
                  <a:pt x="90329" y="2308598"/>
                  <a:pt x="38827" y="2303685"/>
                </a:cubicBezTo>
                <a:cubicBezTo>
                  <a:pt x="20556" y="2301864"/>
                  <a:pt x="-10092" y="2297272"/>
                  <a:pt x="3281" y="2273587"/>
                </a:cubicBezTo>
                <a:cubicBezTo>
                  <a:pt x="14533" y="2253956"/>
                  <a:pt x="39095" y="2256437"/>
                  <a:pt x="61590" y="2259170"/>
                </a:cubicBezTo>
                <a:cubicBezTo>
                  <a:pt x="115591" y="2265916"/>
                  <a:pt x="170539" y="2259497"/>
                  <a:pt x="242291" y="2250569"/>
                </a:cubicBezTo>
                <a:cubicBezTo>
                  <a:pt x="178223" y="2197829"/>
                  <a:pt x="68904" y="2229102"/>
                  <a:pt x="13205" y="2172263"/>
                </a:cubicBezTo>
                <a:cubicBezTo>
                  <a:pt x="77196" y="2153598"/>
                  <a:pt x="128251" y="2170191"/>
                  <a:pt x="180810" y="2168333"/>
                </a:cubicBezTo>
                <a:cubicBezTo>
                  <a:pt x="228319" y="2166612"/>
                  <a:pt x="239444" y="2154350"/>
                  <a:pt x="226020" y="2121100"/>
                </a:cubicBezTo>
                <a:cubicBezTo>
                  <a:pt x="205165" y="2069293"/>
                  <a:pt x="229388" y="2038364"/>
                  <a:pt x="299145" y="2044862"/>
                </a:cubicBezTo>
                <a:cubicBezTo>
                  <a:pt x="363822" y="2051027"/>
                  <a:pt x="369032" y="2029991"/>
                  <a:pt x="350236" y="2001187"/>
                </a:cubicBezTo>
                <a:cubicBezTo>
                  <a:pt x="322862" y="1959187"/>
                  <a:pt x="348423" y="1921214"/>
                  <a:pt x="365223" y="1881218"/>
                </a:cubicBezTo>
                <a:cubicBezTo>
                  <a:pt x="390527" y="1820499"/>
                  <a:pt x="376326" y="1793748"/>
                  <a:pt x="310707" y="1758752"/>
                </a:cubicBezTo>
                <a:cubicBezTo>
                  <a:pt x="273754" y="1739265"/>
                  <a:pt x="234367" y="1723631"/>
                  <a:pt x="181659" y="1709137"/>
                </a:cubicBezTo>
                <a:cubicBezTo>
                  <a:pt x="299387" y="1683727"/>
                  <a:pt x="172918" y="1660608"/>
                  <a:pt x="213063" y="1632021"/>
                </a:cubicBezTo>
                <a:cubicBezTo>
                  <a:pt x="296030" y="1612244"/>
                  <a:pt x="369047" y="1679323"/>
                  <a:pt x="481390" y="1644125"/>
                </a:cubicBezTo>
                <a:cubicBezTo>
                  <a:pt x="336659" y="1595935"/>
                  <a:pt x="176348" y="1532074"/>
                  <a:pt x="68930" y="1457537"/>
                </a:cubicBezTo>
                <a:cubicBezTo>
                  <a:pt x="91299" y="1434897"/>
                  <a:pt x="115799" y="1450436"/>
                  <a:pt x="135138" y="1440976"/>
                </a:cubicBezTo>
                <a:cubicBezTo>
                  <a:pt x="133952" y="1436374"/>
                  <a:pt x="135290" y="1429332"/>
                  <a:pt x="131611" y="1427642"/>
                </a:cubicBezTo>
                <a:cubicBezTo>
                  <a:pt x="52402" y="1389548"/>
                  <a:pt x="51441" y="1388478"/>
                  <a:pt x="130443" y="1343795"/>
                </a:cubicBezTo>
                <a:cubicBezTo>
                  <a:pt x="158017" y="1328118"/>
                  <a:pt x="154966" y="1317573"/>
                  <a:pt x="138930" y="1304094"/>
                </a:cubicBezTo>
                <a:cubicBezTo>
                  <a:pt x="127608" y="1294551"/>
                  <a:pt x="113720" y="1286742"/>
                  <a:pt x="118409" y="1262212"/>
                </a:cubicBezTo>
                <a:cubicBezTo>
                  <a:pt x="164937" y="1287183"/>
                  <a:pt x="383505" y="1312432"/>
                  <a:pt x="421410" y="1304757"/>
                </a:cubicBezTo>
                <a:cubicBezTo>
                  <a:pt x="464009" y="1296037"/>
                  <a:pt x="610877" y="1288926"/>
                  <a:pt x="655702" y="1291801"/>
                </a:cubicBezTo>
                <a:cubicBezTo>
                  <a:pt x="653235" y="1290438"/>
                  <a:pt x="650767" y="1289077"/>
                  <a:pt x="648299" y="1287715"/>
                </a:cubicBezTo>
                <a:cubicBezTo>
                  <a:pt x="603999" y="1260339"/>
                  <a:pt x="559107" y="1233035"/>
                  <a:pt x="531027" y="1193967"/>
                </a:cubicBezTo>
                <a:cubicBezTo>
                  <a:pt x="529741" y="1192462"/>
                  <a:pt x="529061" y="1191120"/>
                  <a:pt x="526433" y="1191913"/>
                </a:cubicBezTo>
                <a:cubicBezTo>
                  <a:pt x="503415" y="1199684"/>
                  <a:pt x="505590" y="1187083"/>
                  <a:pt x="504666" y="1177230"/>
                </a:cubicBezTo>
                <a:cubicBezTo>
                  <a:pt x="503726" y="1167141"/>
                  <a:pt x="499378" y="1159602"/>
                  <a:pt x="482307" y="1162618"/>
                </a:cubicBezTo>
                <a:cubicBezTo>
                  <a:pt x="481421" y="1162726"/>
                  <a:pt x="480226" y="1162633"/>
                  <a:pt x="479029" y="1162540"/>
                </a:cubicBezTo>
                <a:cubicBezTo>
                  <a:pt x="470949" y="1161859"/>
                  <a:pt x="444139" y="1138059"/>
                  <a:pt x="447663" y="1132649"/>
                </a:cubicBezTo>
                <a:cubicBezTo>
                  <a:pt x="455539" y="1120781"/>
                  <a:pt x="446335" y="1116439"/>
                  <a:pt x="438547" y="1110977"/>
                </a:cubicBezTo>
                <a:cubicBezTo>
                  <a:pt x="427656" y="1103517"/>
                  <a:pt x="416795" y="1096529"/>
                  <a:pt x="405343" y="1089612"/>
                </a:cubicBezTo>
                <a:cubicBezTo>
                  <a:pt x="394202" y="1082895"/>
                  <a:pt x="382794" y="1076684"/>
                  <a:pt x="371373" y="1070238"/>
                </a:cubicBezTo>
                <a:cubicBezTo>
                  <a:pt x="344889" y="1065616"/>
                  <a:pt x="318169" y="1061972"/>
                  <a:pt x="290358" y="1059884"/>
                </a:cubicBezTo>
                <a:cubicBezTo>
                  <a:pt x="269709" y="1058114"/>
                  <a:pt x="246624" y="1055453"/>
                  <a:pt x="235140" y="1029322"/>
                </a:cubicBezTo>
                <a:cubicBezTo>
                  <a:pt x="256895" y="1029771"/>
                  <a:pt x="278695" y="1030927"/>
                  <a:pt x="300494" y="1032083"/>
                </a:cubicBezTo>
                <a:cubicBezTo>
                  <a:pt x="279542" y="1020860"/>
                  <a:pt x="259181" y="1009565"/>
                  <a:pt x="239661" y="997457"/>
                </a:cubicBezTo>
                <a:cubicBezTo>
                  <a:pt x="223540" y="987309"/>
                  <a:pt x="210281" y="975391"/>
                  <a:pt x="204788" y="959211"/>
                </a:cubicBezTo>
                <a:cubicBezTo>
                  <a:pt x="203337" y="955117"/>
                  <a:pt x="202166" y="950750"/>
                  <a:pt x="207583" y="947009"/>
                </a:cubicBezTo>
                <a:cubicBezTo>
                  <a:pt x="213561" y="942727"/>
                  <a:pt x="218466" y="944980"/>
                  <a:pt x="223061" y="947033"/>
                </a:cubicBezTo>
                <a:cubicBezTo>
                  <a:pt x="242046" y="955410"/>
                  <a:pt x="261311" y="963516"/>
                  <a:pt x="280015" y="972164"/>
                </a:cubicBezTo>
                <a:cubicBezTo>
                  <a:pt x="304852" y="983629"/>
                  <a:pt x="329408" y="995365"/>
                  <a:pt x="353948" y="1006865"/>
                </a:cubicBezTo>
                <a:cubicBezTo>
                  <a:pt x="319294" y="981405"/>
                  <a:pt x="281290" y="959435"/>
                  <a:pt x="240466" y="939943"/>
                </a:cubicBezTo>
                <a:cubicBezTo>
                  <a:pt x="210990" y="925718"/>
                  <a:pt x="181514" y="911494"/>
                  <a:pt x="158812" y="891467"/>
                </a:cubicBezTo>
                <a:cubicBezTo>
                  <a:pt x="147166" y="881489"/>
                  <a:pt x="141336" y="869384"/>
                  <a:pt x="139551" y="855364"/>
                </a:cubicBezTo>
                <a:cubicBezTo>
                  <a:pt x="139312" y="851597"/>
                  <a:pt x="139634" y="847287"/>
                  <a:pt x="145731" y="844888"/>
                </a:cubicBezTo>
                <a:cubicBezTo>
                  <a:pt x="151843" y="842724"/>
                  <a:pt x="155581" y="845356"/>
                  <a:pt x="158154" y="848366"/>
                </a:cubicBezTo>
                <a:cubicBezTo>
                  <a:pt x="161052" y="851811"/>
                  <a:pt x="164496" y="854479"/>
                  <a:pt x="169370" y="856260"/>
                </a:cubicBezTo>
                <a:cubicBezTo>
                  <a:pt x="212096" y="872913"/>
                  <a:pt x="249775" y="894448"/>
                  <a:pt x="288295" y="915169"/>
                </a:cubicBezTo>
                <a:cubicBezTo>
                  <a:pt x="343452" y="944788"/>
                  <a:pt x="397769" y="975222"/>
                  <a:pt x="462694" y="994643"/>
                </a:cubicBezTo>
                <a:cubicBezTo>
                  <a:pt x="487260" y="1001870"/>
                  <a:pt x="512622" y="1007575"/>
                  <a:pt x="531910" y="1006664"/>
                </a:cubicBezTo>
                <a:cubicBezTo>
                  <a:pt x="460990" y="972547"/>
                  <a:pt x="394087" y="936046"/>
                  <a:pt x="333940" y="893507"/>
                </a:cubicBezTo>
                <a:cubicBezTo>
                  <a:pt x="273173" y="850568"/>
                  <a:pt x="219876" y="803403"/>
                  <a:pt x="181443" y="746608"/>
                </a:cubicBezTo>
                <a:cubicBezTo>
                  <a:pt x="177494" y="740681"/>
                  <a:pt x="175038" y="734810"/>
                  <a:pt x="162678" y="737018"/>
                </a:cubicBezTo>
                <a:cubicBezTo>
                  <a:pt x="157082" y="737933"/>
                  <a:pt x="155070" y="734381"/>
                  <a:pt x="156307" y="730435"/>
                </a:cubicBezTo>
                <a:cubicBezTo>
                  <a:pt x="164051" y="702450"/>
                  <a:pt x="145532" y="687373"/>
                  <a:pt x="117227" y="677515"/>
                </a:cubicBezTo>
                <a:cubicBezTo>
                  <a:pt x="108392" y="674314"/>
                  <a:pt x="107546" y="670384"/>
                  <a:pt x="113655" y="663474"/>
                </a:cubicBezTo>
                <a:cubicBezTo>
                  <a:pt x="121976" y="653926"/>
                  <a:pt x="120506" y="644851"/>
                  <a:pt x="115226" y="636712"/>
                </a:cubicBezTo>
                <a:cubicBezTo>
                  <a:pt x="112224" y="631619"/>
                  <a:pt x="108350" y="626868"/>
                  <a:pt x="105067" y="622046"/>
                </a:cubicBezTo>
                <a:cubicBezTo>
                  <a:pt x="102790" y="619000"/>
                  <a:pt x="99022" y="615897"/>
                  <a:pt x="104113" y="611722"/>
                </a:cubicBezTo>
                <a:cubicBezTo>
                  <a:pt x="108939" y="608053"/>
                  <a:pt x="114081" y="609328"/>
                  <a:pt x="118895" y="610169"/>
                </a:cubicBezTo>
                <a:cubicBezTo>
                  <a:pt x="142040" y="613772"/>
                  <a:pt x="156094" y="624170"/>
                  <a:pt x="163095" y="640642"/>
                </a:cubicBezTo>
                <a:cubicBezTo>
                  <a:pt x="168334" y="652819"/>
                  <a:pt x="173104" y="652953"/>
                  <a:pt x="185766" y="641454"/>
                </a:cubicBezTo>
                <a:cubicBezTo>
                  <a:pt x="195327" y="632704"/>
                  <a:pt x="204232" y="632337"/>
                  <a:pt x="212892" y="637457"/>
                </a:cubicBezTo>
                <a:cubicBezTo>
                  <a:pt x="217516" y="639981"/>
                  <a:pt x="220444" y="643897"/>
                  <a:pt x="223932" y="647271"/>
                </a:cubicBezTo>
                <a:cubicBezTo>
                  <a:pt x="241420" y="664845"/>
                  <a:pt x="259762" y="681841"/>
                  <a:pt x="287167" y="691571"/>
                </a:cubicBezTo>
                <a:cubicBezTo>
                  <a:pt x="299355" y="696027"/>
                  <a:pt x="312354" y="699197"/>
                  <a:pt x="330380" y="692506"/>
                </a:cubicBezTo>
                <a:cubicBezTo>
                  <a:pt x="318517" y="688486"/>
                  <a:pt x="306954" y="689175"/>
                  <a:pt x="296172" y="688108"/>
                </a:cubicBezTo>
                <a:cubicBezTo>
                  <a:pt x="285390" y="687041"/>
                  <a:pt x="279539" y="683953"/>
                  <a:pt x="286974" y="674512"/>
                </a:cubicBezTo>
                <a:cubicBezTo>
                  <a:pt x="291105" y="669267"/>
                  <a:pt x="290555" y="665301"/>
                  <a:pt x="286166" y="661798"/>
                </a:cubicBezTo>
                <a:cubicBezTo>
                  <a:pt x="272052" y="650459"/>
                  <a:pt x="264416" y="633352"/>
                  <a:pt x="236268" y="635338"/>
                </a:cubicBezTo>
                <a:cubicBezTo>
                  <a:pt x="234792" y="635517"/>
                  <a:pt x="233255" y="634754"/>
                  <a:pt x="231734" y="634225"/>
                </a:cubicBezTo>
                <a:cubicBezTo>
                  <a:pt x="225957" y="632316"/>
                  <a:pt x="219575" y="630241"/>
                  <a:pt x="221253" y="623870"/>
                </a:cubicBezTo>
                <a:cubicBezTo>
                  <a:pt x="223227" y="617462"/>
                  <a:pt x="230816" y="615119"/>
                  <a:pt x="237564" y="613590"/>
                </a:cubicBezTo>
                <a:cubicBezTo>
                  <a:pt x="254884" y="609831"/>
                  <a:pt x="268844" y="614072"/>
                  <a:pt x="282259" y="619091"/>
                </a:cubicBezTo>
                <a:cubicBezTo>
                  <a:pt x="314893" y="631509"/>
                  <a:pt x="342201" y="649080"/>
                  <a:pt x="370630" y="665566"/>
                </a:cubicBezTo>
                <a:cubicBezTo>
                  <a:pt x="413275" y="690295"/>
                  <a:pt x="451153" y="719635"/>
                  <a:pt x="498017" y="740532"/>
                </a:cubicBezTo>
                <a:cubicBezTo>
                  <a:pt x="637369" y="802423"/>
                  <a:pt x="774774" y="866448"/>
                  <a:pt x="918036" y="924307"/>
                </a:cubicBezTo>
                <a:cubicBezTo>
                  <a:pt x="970882" y="945666"/>
                  <a:pt x="1024819" y="965469"/>
                  <a:pt x="1079304" y="984494"/>
                </a:cubicBezTo>
                <a:cubicBezTo>
                  <a:pt x="1079509" y="983045"/>
                  <a:pt x="1079744" y="982067"/>
                  <a:pt x="1079935" y="980383"/>
                </a:cubicBezTo>
                <a:cubicBezTo>
                  <a:pt x="1079860" y="979206"/>
                  <a:pt x="1079770" y="977793"/>
                  <a:pt x="1079695" y="976616"/>
                </a:cubicBezTo>
                <a:cubicBezTo>
                  <a:pt x="1041139" y="964679"/>
                  <a:pt x="1003098" y="951491"/>
                  <a:pt x="966178" y="937219"/>
                </a:cubicBezTo>
                <a:cubicBezTo>
                  <a:pt x="875541" y="901932"/>
                  <a:pt x="791930" y="860100"/>
                  <a:pt x="720106" y="807112"/>
                </a:cubicBezTo>
                <a:cubicBezTo>
                  <a:pt x="714181" y="802848"/>
                  <a:pt x="707904" y="802421"/>
                  <a:pt x="698823" y="804708"/>
                </a:cubicBezTo>
                <a:cubicBezTo>
                  <a:pt x="669544" y="812288"/>
                  <a:pt x="659939" y="806334"/>
                  <a:pt x="664513" y="784663"/>
                </a:cubicBezTo>
                <a:cubicBezTo>
                  <a:pt x="665660" y="779304"/>
                  <a:pt x="665686" y="775031"/>
                  <a:pt x="660380" y="771165"/>
                </a:cubicBezTo>
                <a:cubicBezTo>
                  <a:pt x="636661" y="753871"/>
                  <a:pt x="611807" y="737427"/>
                  <a:pt x="584959" y="722409"/>
                </a:cubicBezTo>
                <a:cubicBezTo>
                  <a:pt x="535282" y="694735"/>
                  <a:pt x="482226" y="670082"/>
                  <a:pt x="435649" y="639659"/>
                </a:cubicBezTo>
                <a:cubicBezTo>
                  <a:pt x="421965" y="630403"/>
                  <a:pt x="411440" y="619340"/>
                  <a:pt x="404944" y="606128"/>
                </a:cubicBezTo>
                <a:cubicBezTo>
                  <a:pt x="402872" y="601635"/>
                  <a:pt x="401613" y="595856"/>
                  <a:pt x="408476" y="591466"/>
                </a:cubicBezTo>
                <a:cubicBezTo>
                  <a:pt x="415044" y="587111"/>
                  <a:pt x="420320" y="590506"/>
                  <a:pt x="425225" y="592759"/>
                </a:cubicBezTo>
                <a:cubicBezTo>
                  <a:pt x="445746" y="601899"/>
                  <a:pt x="466578" y="611238"/>
                  <a:pt x="487115" y="620614"/>
                </a:cubicBezTo>
                <a:cubicBezTo>
                  <a:pt x="507947" y="629954"/>
                  <a:pt x="528514" y="639800"/>
                  <a:pt x="550277" y="649738"/>
                </a:cubicBezTo>
                <a:cubicBezTo>
                  <a:pt x="551408" y="644145"/>
                  <a:pt x="546904" y="643504"/>
                  <a:pt x="544421" y="641907"/>
                </a:cubicBezTo>
                <a:cubicBezTo>
                  <a:pt x="509355" y="619344"/>
                  <a:pt x="471190" y="599529"/>
                  <a:pt x="431905" y="580799"/>
                </a:cubicBezTo>
                <a:cubicBezTo>
                  <a:pt x="401512" y="566211"/>
                  <a:pt x="371947" y="550574"/>
                  <a:pt x="351177" y="528177"/>
                </a:cubicBezTo>
                <a:cubicBezTo>
                  <a:pt x="343180" y="519419"/>
                  <a:pt x="338696" y="509759"/>
                  <a:pt x="339749" y="498244"/>
                </a:cubicBezTo>
                <a:cubicBezTo>
                  <a:pt x="340115" y="494641"/>
                  <a:pt x="340481" y="491037"/>
                  <a:pt x="346313" y="489145"/>
                </a:cubicBezTo>
                <a:cubicBezTo>
                  <a:pt x="350979" y="487631"/>
                  <a:pt x="354067" y="489392"/>
                  <a:pt x="356579" y="491460"/>
                </a:cubicBezTo>
                <a:cubicBezTo>
                  <a:pt x="360984" y="495197"/>
                  <a:pt x="365388" y="498934"/>
                  <a:pt x="371505" y="501516"/>
                </a:cubicBezTo>
                <a:cubicBezTo>
                  <a:pt x="408203" y="517000"/>
                  <a:pt x="442659" y="534654"/>
                  <a:pt x="476275" y="553122"/>
                </a:cubicBezTo>
                <a:cubicBezTo>
                  <a:pt x="531461" y="583213"/>
                  <a:pt x="586103" y="614082"/>
                  <a:pt x="649952" y="635294"/>
                </a:cubicBezTo>
                <a:cubicBezTo>
                  <a:pt x="673972" y="643298"/>
                  <a:pt x="698805" y="650018"/>
                  <a:pt x="727161" y="651328"/>
                </a:cubicBezTo>
                <a:cubicBezTo>
                  <a:pt x="726126" y="649081"/>
                  <a:pt x="724263" y="647883"/>
                  <a:pt x="722417" y="646921"/>
                </a:cubicBezTo>
                <a:cubicBezTo>
                  <a:pt x="660627" y="615969"/>
                  <a:pt x="600830" y="583590"/>
                  <a:pt x="546079" y="546328"/>
                </a:cubicBezTo>
                <a:cubicBezTo>
                  <a:pt x="478576" y="500409"/>
                  <a:pt x="420223" y="448637"/>
                  <a:pt x="378182" y="386585"/>
                </a:cubicBezTo>
                <a:cubicBezTo>
                  <a:pt x="376229" y="383975"/>
                  <a:pt x="374884" y="381528"/>
                  <a:pt x="370158" y="382100"/>
                </a:cubicBezTo>
                <a:cubicBezTo>
                  <a:pt x="358064" y="383802"/>
                  <a:pt x="356583" y="379236"/>
                  <a:pt x="357861" y="371252"/>
                </a:cubicBezTo>
                <a:cubicBezTo>
                  <a:pt x="361373" y="351608"/>
                  <a:pt x="352380" y="336565"/>
                  <a:pt x="331313" y="328203"/>
                </a:cubicBezTo>
                <a:cubicBezTo>
                  <a:pt x="316037" y="321986"/>
                  <a:pt x="303183" y="316425"/>
                  <a:pt x="319354" y="299282"/>
                </a:cubicBezTo>
                <a:cubicBezTo>
                  <a:pt x="323265" y="295249"/>
                  <a:pt x="321459" y="290249"/>
                  <a:pt x="319682" y="285719"/>
                </a:cubicBezTo>
                <a:cubicBezTo>
                  <a:pt x="317166" y="278905"/>
                  <a:pt x="312080" y="273828"/>
                  <a:pt x="306391" y="268585"/>
                </a:cubicBezTo>
                <a:cubicBezTo>
                  <a:pt x="303227" y="265647"/>
                  <a:pt x="299399" y="261602"/>
                  <a:pt x="303294" y="257334"/>
                </a:cubicBezTo>
                <a:cubicBezTo>
                  <a:pt x="307735" y="252289"/>
                  <a:pt x="314131" y="254598"/>
                  <a:pt x="319242" y="255403"/>
                </a:cubicBezTo>
                <a:cubicBezTo>
                  <a:pt x="342683" y="258970"/>
                  <a:pt x="357062" y="269803"/>
                  <a:pt x="364093" y="286745"/>
                </a:cubicBezTo>
                <a:cubicBezTo>
                  <a:pt x="368651" y="297582"/>
                  <a:pt x="374307" y="297608"/>
                  <a:pt x="385301" y="287973"/>
                </a:cubicBezTo>
                <a:cubicBezTo>
                  <a:pt x="397712" y="277216"/>
                  <a:pt x="408079" y="276436"/>
                  <a:pt x="417598" y="285722"/>
                </a:cubicBezTo>
                <a:cubicBezTo>
                  <a:pt x="425226" y="293339"/>
                  <a:pt x="431406" y="301607"/>
                  <a:pt x="440155" y="308139"/>
                </a:cubicBezTo>
                <a:cubicBezTo>
                  <a:pt x="463623" y="326175"/>
                  <a:pt x="485720" y="346039"/>
                  <a:pt x="534406" y="339430"/>
                </a:cubicBezTo>
                <a:cubicBezTo>
                  <a:pt x="520872" y="332528"/>
                  <a:pt x="507316" y="334645"/>
                  <a:pt x="495633" y="333450"/>
                </a:cubicBezTo>
                <a:cubicBezTo>
                  <a:pt x="487244" y="332567"/>
                  <a:pt x="478750" y="330037"/>
                  <a:pt x="486289" y="322243"/>
                </a:cubicBezTo>
                <a:cubicBezTo>
                  <a:pt x="494951" y="313365"/>
                  <a:pt x="489365" y="309771"/>
                  <a:pt x="484000" y="304964"/>
                </a:cubicBezTo>
                <a:cubicBezTo>
                  <a:pt x="471673" y="293645"/>
                  <a:pt x="461604" y="280392"/>
                  <a:pt x="436911" y="280536"/>
                </a:cubicBezTo>
                <a:cubicBezTo>
                  <a:pt x="433041" y="280530"/>
                  <a:pt x="429923" y="278297"/>
                  <a:pt x="426865" y="277007"/>
                </a:cubicBezTo>
                <a:cubicBezTo>
                  <a:pt x="422581" y="275154"/>
                  <a:pt x="418872" y="272993"/>
                  <a:pt x="420654" y="268269"/>
                </a:cubicBezTo>
                <a:cubicBezTo>
                  <a:pt x="422468" y="264016"/>
                  <a:pt x="426748" y="261125"/>
                  <a:pt x="432329" y="259975"/>
                </a:cubicBezTo>
                <a:cubicBezTo>
                  <a:pt x="437320" y="258895"/>
                  <a:pt x="442621" y="258016"/>
                  <a:pt x="447672" y="257879"/>
                </a:cubicBezTo>
                <a:cubicBezTo>
                  <a:pt x="470223" y="256809"/>
                  <a:pt x="486254" y="265543"/>
                  <a:pt x="502242" y="273572"/>
                </a:cubicBezTo>
                <a:cubicBezTo>
                  <a:pt x="558179" y="301436"/>
                  <a:pt x="607891" y="334326"/>
                  <a:pt x="659874" y="365516"/>
                </a:cubicBezTo>
                <a:cubicBezTo>
                  <a:pt x="711842" y="396471"/>
                  <a:pt x="772192" y="418818"/>
                  <a:pt x="829177" y="444421"/>
                </a:cubicBezTo>
                <a:cubicBezTo>
                  <a:pt x="960626" y="503711"/>
                  <a:pt x="1092650" y="562693"/>
                  <a:pt x="1231903" y="613682"/>
                </a:cubicBezTo>
                <a:cubicBezTo>
                  <a:pt x="1368099" y="663381"/>
                  <a:pt x="1823141" y="686561"/>
                  <a:pt x="1911736" y="685084"/>
                </a:cubicBezTo>
                <a:cubicBezTo>
                  <a:pt x="2024994" y="682992"/>
                  <a:pt x="2291986" y="655399"/>
                  <a:pt x="2564313" y="632143"/>
                </a:cubicBezTo>
                <a:cubicBezTo>
                  <a:pt x="2595089" y="629364"/>
                  <a:pt x="2625288" y="626893"/>
                  <a:pt x="2657304" y="624913"/>
                </a:cubicBezTo>
                <a:cubicBezTo>
                  <a:pt x="3564401" y="568191"/>
                  <a:pt x="4203594" y="276765"/>
                  <a:pt x="4235818" y="259339"/>
                </a:cubicBezTo>
                <a:cubicBezTo>
                  <a:pt x="4287616" y="231474"/>
                  <a:pt x="4460006" y="176429"/>
                  <a:pt x="4460331" y="176864"/>
                </a:cubicBezTo>
                <a:cubicBezTo>
                  <a:pt x="4464175" y="181144"/>
                  <a:pt x="4483735" y="184529"/>
                  <a:pt x="4499578" y="186791"/>
                </a:cubicBezTo>
                <a:lnTo>
                  <a:pt x="4514640" y="188841"/>
                </a:lnTo>
                <a:lnTo>
                  <a:pt x="4516523" y="189988"/>
                </a:lnTo>
                <a:cubicBezTo>
                  <a:pt x="4522035" y="190091"/>
                  <a:pt x="4521760" y="189857"/>
                  <a:pt x="4518126" y="189316"/>
                </a:cubicBezTo>
                <a:lnTo>
                  <a:pt x="4514640" y="188841"/>
                </a:lnTo>
                <a:lnTo>
                  <a:pt x="4511569" y="186970"/>
                </a:lnTo>
                <a:cubicBezTo>
                  <a:pt x="4510788" y="185226"/>
                  <a:pt x="4510719" y="182981"/>
                  <a:pt x="4510888" y="180943"/>
                </a:cubicBezTo>
                <a:cubicBezTo>
                  <a:pt x="4511690" y="170169"/>
                  <a:pt x="4517648" y="160906"/>
                  <a:pt x="4531865" y="155151"/>
                </a:cubicBezTo>
                <a:cubicBezTo>
                  <a:pt x="4545507" y="149703"/>
                  <a:pt x="4559473" y="144689"/>
                  <a:pt x="4573441" y="139676"/>
                </a:cubicBezTo>
                <a:cubicBezTo>
                  <a:pt x="4585075" y="135420"/>
                  <a:pt x="4593048" y="134454"/>
                  <a:pt x="4594964" y="145847"/>
                </a:cubicBezTo>
                <a:cubicBezTo>
                  <a:pt x="4596879" y="157242"/>
                  <a:pt x="4613452" y="160454"/>
                  <a:pt x="4623059" y="152410"/>
                </a:cubicBezTo>
                <a:cubicBezTo>
                  <a:pt x="4660632" y="120811"/>
                  <a:pt x="4705757" y="95654"/>
                  <a:pt x="4748356" y="68192"/>
                </a:cubicBezTo>
                <a:cubicBezTo>
                  <a:pt x="4778098" y="49168"/>
                  <a:pt x="4809406" y="31378"/>
                  <a:pt x="4833812" y="8017"/>
                </a:cubicBezTo>
                <a:cubicBezTo>
                  <a:pt x="4838299" y="3678"/>
                  <a:pt x="4842399" y="-2039"/>
                  <a:pt x="4850908" y="727"/>
                </a:cubicBezTo>
                <a:close/>
              </a:path>
            </a:pathLst>
          </a:custGeom>
          <a:solidFill>
            <a:schemeClr val="bg2">
              <a:alpha val="50000"/>
            </a:schemeClr>
          </a:solidFill>
          <a:ln w="32707" cap="flat">
            <a:noFill/>
            <a:prstDash val="solid"/>
            <a:miter/>
          </a:ln>
        </p:spPr>
        <p:txBody>
          <a:bodyPr wrap="square" rtlCol="0" anchor="ctr">
            <a:noAutofit/>
          </a:bodyPr>
          <a:lstStyle/>
          <a:p>
            <a:pPr algn="ctr"/>
            <a:endParaRPr lang="en-US">
              <a:solidFill>
                <a:schemeClr val="tx1"/>
              </a:solidFill>
            </a:endParaRPr>
          </a:p>
        </p:txBody>
      </p:sp>
      <p:graphicFrame>
        <p:nvGraphicFramePr>
          <p:cNvPr id="5" name="Content Placeholder 2">
            <a:extLst>
              <a:ext uri="{FF2B5EF4-FFF2-40B4-BE49-F238E27FC236}">
                <a16:creationId xmlns:a16="http://schemas.microsoft.com/office/drawing/2014/main" id="{FEC5E9DC-3759-FE91-6BFC-CB2652FEE797}"/>
              </a:ext>
            </a:extLst>
          </p:cNvPr>
          <p:cNvGraphicFramePr>
            <a:graphicFrameLocks noGrp="1"/>
          </p:cNvGraphicFramePr>
          <p:nvPr>
            <p:ph idx="1"/>
            <p:extLst>
              <p:ext uri="{D42A27DB-BD31-4B8C-83A1-F6EECF244321}">
                <p14:modId xmlns:p14="http://schemas.microsoft.com/office/powerpoint/2010/main" val="2878161619"/>
              </p:ext>
            </p:extLst>
          </p:nvPr>
        </p:nvGraphicFramePr>
        <p:xfrm>
          <a:off x="3526910" y="838199"/>
          <a:ext cx="4988440" cy="53387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reeform: Shape 31">
            <a:extLst>
              <a:ext uri="{FF2B5EF4-FFF2-40B4-BE49-F238E27FC236}">
                <a16:creationId xmlns:a16="http://schemas.microsoft.com/office/drawing/2014/main" id="{DA5DC738-45A6-F567-B856-8D4AF8224F45}"/>
              </a:ext>
            </a:extLst>
          </p:cNvPr>
          <p:cNvSpPr>
            <a:spLocks/>
          </p:cNvSpPr>
          <p:nvPr/>
        </p:nvSpPr>
        <p:spPr bwMode="auto">
          <a:xfrm>
            <a:off x="246764" y="59368"/>
            <a:ext cx="1814513" cy="1814513"/>
          </a:xfrm>
          <a:custGeom>
            <a:avLst/>
            <a:gdLst>
              <a:gd name="connsiteX0" fmla="*/ 1209675 w 2419350"/>
              <a:gd name="connsiteY0" fmla="*/ 0 h 2419350"/>
              <a:gd name="connsiteX1" fmla="*/ 1693545 w 2419350"/>
              <a:gd name="connsiteY1" fmla="*/ 483273 h 2419350"/>
              <a:gd name="connsiteX2" fmla="*/ 1747308 w 2419350"/>
              <a:gd name="connsiteY2" fmla="*/ 241637 h 2419350"/>
              <a:gd name="connsiteX3" fmla="*/ 2141573 w 2419350"/>
              <a:gd name="connsiteY3" fmla="*/ 277435 h 2419350"/>
              <a:gd name="connsiteX4" fmla="*/ 2180402 w 2419350"/>
              <a:gd name="connsiteY4" fmla="*/ 674196 h 2419350"/>
              <a:gd name="connsiteX5" fmla="*/ 1938467 w 2419350"/>
              <a:gd name="connsiteY5" fmla="*/ 727893 h 2419350"/>
              <a:gd name="connsiteX6" fmla="*/ 2419350 w 2419350"/>
              <a:gd name="connsiteY6" fmla="*/ 1211167 h 2419350"/>
              <a:gd name="connsiteX7" fmla="*/ 1938467 w 2419350"/>
              <a:gd name="connsiteY7" fmla="*/ 1691457 h 2419350"/>
              <a:gd name="connsiteX8" fmla="*/ 2180402 w 2419350"/>
              <a:gd name="connsiteY8" fmla="*/ 1745154 h 2419350"/>
              <a:gd name="connsiteX9" fmla="*/ 2141573 w 2419350"/>
              <a:gd name="connsiteY9" fmla="*/ 2141915 h 2419350"/>
              <a:gd name="connsiteX10" fmla="*/ 1747308 w 2419350"/>
              <a:gd name="connsiteY10" fmla="*/ 2180697 h 2419350"/>
              <a:gd name="connsiteX11" fmla="*/ 1693545 w 2419350"/>
              <a:gd name="connsiteY11" fmla="*/ 1939060 h 2419350"/>
              <a:gd name="connsiteX12" fmla="*/ 1209675 w 2419350"/>
              <a:gd name="connsiteY12" fmla="*/ 2419350 h 2419350"/>
              <a:gd name="connsiteX13" fmla="*/ 1202115 w 2419350"/>
              <a:gd name="connsiteY13" fmla="*/ 2411845 h 2419350"/>
              <a:gd name="connsiteX14" fmla="*/ 1193678 w 2419350"/>
              <a:gd name="connsiteY14" fmla="*/ 2403471 h 2419350"/>
              <a:gd name="connsiteX15" fmla="*/ 1184158 w 2419350"/>
              <a:gd name="connsiteY15" fmla="*/ 2394022 h 2419350"/>
              <a:gd name="connsiteX16" fmla="*/ 725805 w 2419350"/>
              <a:gd name="connsiteY16" fmla="*/ 1939060 h 2419350"/>
              <a:gd name="connsiteX17" fmla="*/ 672041 w 2419350"/>
              <a:gd name="connsiteY17" fmla="*/ 2180697 h 2419350"/>
              <a:gd name="connsiteX18" fmla="*/ 277777 w 2419350"/>
              <a:gd name="connsiteY18" fmla="*/ 2141915 h 2419350"/>
              <a:gd name="connsiteX19" fmla="*/ 238948 w 2419350"/>
              <a:gd name="connsiteY19" fmla="*/ 1745154 h 2419350"/>
              <a:gd name="connsiteX20" fmla="*/ 414099 w 2419350"/>
              <a:gd name="connsiteY20" fmla="*/ 1681389 h 2419350"/>
              <a:gd name="connsiteX21" fmla="*/ 480703 w 2419350"/>
              <a:gd name="connsiteY21" fmla="*/ 1691430 h 2419350"/>
              <a:gd name="connsiteX22" fmla="*/ 480883 w 2419350"/>
              <a:gd name="connsiteY22" fmla="*/ 1691457 h 2419350"/>
              <a:gd name="connsiteX23" fmla="*/ 0 w 2419350"/>
              <a:gd name="connsiteY23" fmla="*/ 1211167 h 2419350"/>
              <a:gd name="connsiteX24" fmla="*/ 1209675 w 2419350"/>
              <a:gd name="connsiteY24" fmla="*/ 0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19350" h="2419350">
                <a:moveTo>
                  <a:pt x="1209675" y="0"/>
                </a:moveTo>
                <a:cubicBezTo>
                  <a:pt x="1209675" y="0"/>
                  <a:pt x="1209675" y="0"/>
                  <a:pt x="1693545" y="483273"/>
                </a:cubicBezTo>
                <a:cubicBezTo>
                  <a:pt x="1666663" y="393778"/>
                  <a:pt x="1684584" y="304283"/>
                  <a:pt x="1747308" y="241637"/>
                </a:cubicBezTo>
                <a:cubicBezTo>
                  <a:pt x="1845874" y="143192"/>
                  <a:pt x="2022099" y="158108"/>
                  <a:pt x="2141573" y="277435"/>
                </a:cubicBezTo>
                <a:cubicBezTo>
                  <a:pt x="2261047" y="396762"/>
                  <a:pt x="2278968" y="575752"/>
                  <a:pt x="2180402" y="674196"/>
                </a:cubicBezTo>
                <a:cubicBezTo>
                  <a:pt x="2117678" y="736843"/>
                  <a:pt x="2028072" y="751759"/>
                  <a:pt x="1938467" y="727893"/>
                </a:cubicBezTo>
                <a:cubicBezTo>
                  <a:pt x="1938467" y="727893"/>
                  <a:pt x="1938467" y="727893"/>
                  <a:pt x="2419350" y="1211167"/>
                </a:cubicBezTo>
                <a:cubicBezTo>
                  <a:pt x="2419350" y="1211167"/>
                  <a:pt x="2419350" y="1211167"/>
                  <a:pt x="1938467" y="1691457"/>
                </a:cubicBezTo>
                <a:cubicBezTo>
                  <a:pt x="2028072" y="1667592"/>
                  <a:pt x="2117678" y="1685491"/>
                  <a:pt x="2180402" y="1745154"/>
                </a:cubicBezTo>
                <a:cubicBezTo>
                  <a:pt x="2278968" y="1846582"/>
                  <a:pt x="2261047" y="2022589"/>
                  <a:pt x="2141573" y="2141915"/>
                </a:cubicBezTo>
                <a:cubicBezTo>
                  <a:pt x="2022099" y="2261242"/>
                  <a:pt x="1845874" y="2279141"/>
                  <a:pt x="1747308" y="2180697"/>
                </a:cubicBezTo>
                <a:cubicBezTo>
                  <a:pt x="1684584" y="2118050"/>
                  <a:pt x="1666663" y="2025572"/>
                  <a:pt x="1693545" y="1939060"/>
                </a:cubicBezTo>
                <a:cubicBezTo>
                  <a:pt x="1693545" y="1939060"/>
                  <a:pt x="1693545" y="1939060"/>
                  <a:pt x="1209675" y="2419350"/>
                </a:cubicBezTo>
                <a:cubicBezTo>
                  <a:pt x="1209675" y="2419350"/>
                  <a:pt x="1209675" y="2419350"/>
                  <a:pt x="1202115" y="2411845"/>
                </a:cubicBezTo>
                <a:lnTo>
                  <a:pt x="1193678" y="2403471"/>
                </a:lnTo>
                <a:lnTo>
                  <a:pt x="1184158" y="2394022"/>
                </a:lnTo>
                <a:cubicBezTo>
                  <a:pt x="1141631" y="2351809"/>
                  <a:pt x="1028224" y="2239241"/>
                  <a:pt x="725805" y="1939060"/>
                </a:cubicBezTo>
                <a:cubicBezTo>
                  <a:pt x="752686" y="2025572"/>
                  <a:pt x="734765" y="2118050"/>
                  <a:pt x="672041" y="2180697"/>
                </a:cubicBezTo>
                <a:cubicBezTo>
                  <a:pt x="573475" y="2279141"/>
                  <a:pt x="397251" y="2261242"/>
                  <a:pt x="277777" y="2141915"/>
                </a:cubicBezTo>
                <a:cubicBezTo>
                  <a:pt x="158303" y="2022589"/>
                  <a:pt x="140382" y="1846582"/>
                  <a:pt x="238948" y="1745154"/>
                </a:cubicBezTo>
                <a:cubicBezTo>
                  <a:pt x="285991" y="1700407"/>
                  <a:pt x="348155" y="1679152"/>
                  <a:pt x="414099" y="1681389"/>
                </a:cubicBezTo>
                <a:lnTo>
                  <a:pt x="480703" y="1691430"/>
                </a:lnTo>
                <a:lnTo>
                  <a:pt x="480883" y="1691457"/>
                </a:lnTo>
                <a:cubicBezTo>
                  <a:pt x="480883" y="1691457"/>
                  <a:pt x="480883" y="1691457"/>
                  <a:pt x="0" y="1211167"/>
                </a:cubicBezTo>
                <a:cubicBezTo>
                  <a:pt x="0" y="1211167"/>
                  <a:pt x="0" y="1211167"/>
                  <a:pt x="1209675" y="0"/>
                </a:cubicBezTo>
                <a:close/>
              </a:path>
            </a:pathLst>
          </a:custGeom>
          <a:solidFill>
            <a:srgbClr val="FFCC34">
              <a:alpha val="54000"/>
            </a:srgbClr>
          </a:solidFill>
          <a:ln>
            <a:noFill/>
          </a:ln>
        </p:spPr>
        <p:txBody>
          <a:bodyPr vert="horz" wrap="square" lIns="68580" tIns="34290" rIns="68580" bIns="34290" numCol="1" anchor="t" anchorCtr="0" compatLnSpc="1">
            <a:prstTxWarp prst="textNoShape">
              <a:avLst/>
            </a:prstTxWarp>
            <a:noAutofit/>
          </a:bodyPr>
          <a:lstStyle/>
          <a:p>
            <a:endParaRPr lang="en-US" sz="1350"/>
          </a:p>
        </p:txBody>
      </p:sp>
      <p:sp>
        <p:nvSpPr>
          <p:cNvPr id="6" name="Freeform: Shape 33">
            <a:extLst>
              <a:ext uri="{FF2B5EF4-FFF2-40B4-BE49-F238E27FC236}">
                <a16:creationId xmlns:a16="http://schemas.microsoft.com/office/drawing/2014/main" id="{43405471-4B76-CF8D-4457-86F55D63A4FF}"/>
              </a:ext>
            </a:extLst>
          </p:cNvPr>
          <p:cNvSpPr>
            <a:spLocks/>
          </p:cNvSpPr>
          <p:nvPr/>
        </p:nvSpPr>
        <p:spPr bwMode="auto">
          <a:xfrm>
            <a:off x="1466030" y="1674651"/>
            <a:ext cx="1816858" cy="1814513"/>
          </a:xfrm>
          <a:custGeom>
            <a:avLst/>
            <a:gdLst>
              <a:gd name="connsiteX0" fmla="*/ 1212756 w 2422477"/>
              <a:gd name="connsiteY0" fmla="*/ 0 h 2419350"/>
              <a:gd name="connsiteX1" fmla="*/ 1693553 w 2422477"/>
              <a:gd name="connsiteY1" fmla="*/ 480167 h 2419350"/>
              <a:gd name="connsiteX2" fmla="*/ 1626949 w 2422477"/>
              <a:gd name="connsiteY2" fmla="*/ 470126 h 2419350"/>
              <a:gd name="connsiteX3" fmla="*/ 1451798 w 2422477"/>
              <a:gd name="connsiteY3" fmla="*/ 533891 h 2419350"/>
              <a:gd name="connsiteX4" fmla="*/ 1490627 w 2422477"/>
              <a:gd name="connsiteY4" fmla="*/ 930652 h 2419350"/>
              <a:gd name="connsiteX5" fmla="*/ 1884891 w 2422477"/>
              <a:gd name="connsiteY5" fmla="*/ 969434 h 2419350"/>
              <a:gd name="connsiteX6" fmla="*/ 1938655 w 2422477"/>
              <a:gd name="connsiteY6" fmla="*/ 727797 h 2419350"/>
              <a:gd name="connsiteX7" fmla="*/ 2397008 w 2422477"/>
              <a:gd name="connsiteY7" fmla="*/ 1182759 h 2419350"/>
              <a:gd name="connsiteX8" fmla="*/ 2406528 w 2422477"/>
              <a:gd name="connsiteY8" fmla="*/ 1192208 h 2419350"/>
              <a:gd name="connsiteX9" fmla="*/ 2422477 w 2422477"/>
              <a:gd name="connsiteY9" fmla="*/ 1208136 h 2419350"/>
              <a:gd name="connsiteX10" fmla="*/ 2337352 w 2422477"/>
              <a:gd name="connsiteY10" fmla="*/ 1293155 h 2419350"/>
              <a:gd name="connsiteX11" fmla="*/ 1938655 w 2422477"/>
              <a:gd name="connsiteY11" fmla="*/ 1691361 h 2419350"/>
              <a:gd name="connsiteX12" fmla="*/ 1884891 w 2422477"/>
              <a:gd name="connsiteY12" fmla="*/ 1449724 h 2419350"/>
              <a:gd name="connsiteX13" fmla="*/ 1490627 w 2422477"/>
              <a:gd name="connsiteY13" fmla="*/ 1485522 h 2419350"/>
              <a:gd name="connsiteX14" fmla="*/ 1451798 w 2422477"/>
              <a:gd name="connsiteY14" fmla="*/ 1882283 h 2419350"/>
              <a:gd name="connsiteX15" fmla="*/ 1693733 w 2422477"/>
              <a:gd name="connsiteY15" fmla="*/ 1935980 h 2419350"/>
              <a:gd name="connsiteX16" fmla="*/ 1212850 w 2422477"/>
              <a:gd name="connsiteY16" fmla="*/ 2416271 h 2419350"/>
              <a:gd name="connsiteX17" fmla="*/ 1214338 w 2422477"/>
              <a:gd name="connsiteY17" fmla="*/ 2417766 h 2419350"/>
              <a:gd name="connsiteX18" fmla="*/ 1212756 w 2422477"/>
              <a:gd name="connsiteY18" fmla="*/ 2419350 h 2419350"/>
              <a:gd name="connsiteX19" fmla="*/ 716900 w 2422477"/>
              <a:gd name="connsiteY19" fmla="*/ 1924144 h 2419350"/>
              <a:gd name="connsiteX20" fmla="*/ 976776 w 2422477"/>
              <a:gd name="connsiteY20" fmla="*/ 1876413 h 2419350"/>
              <a:gd name="connsiteX21" fmla="*/ 940931 w 2422477"/>
              <a:gd name="connsiteY21" fmla="*/ 1479652 h 2419350"/>
              <a:gd name="connsiteX22" fmla="*/ 543649 w 2422477"/>
              <a:gd name="connsiteY22" fmla="*/ 1440871 h 2419350"/>
              <a:gd name="connsiteX23" fmla="*/ 495856 w 2422477"/>
              <a:gd name="connsiteY23" fmla="*/ 1703390 h 2419350"/>
              <a:gd name="connsiteX24" fmla="*/ 0 w 2422477"/>
              <a:gd name="connsiteY24" fmla="*/ 1208184 h 2419350"/>
              <a:gd name="connsiteX25" fmla="*/ 480920 w 2422477"/>
              <a:gd name="connsiteY25" fmla="*/ 730877 h 2419350"/>
              <a:gd name="connsiteX26" fmla="*/ 238966 w 2422477"/>
              <a:gd name="connsiteY26" fmla="*/ 677180 h 2419350"/>
              <a:gd name="connsiteX27" fmla="*/ 274811 w 2422477"/>
              <a:gd name="connsiteY27" fmla="*/ 280418 h 2419350"/>
              <a:gd name="connsiteX28" fmla="*/ 672094 w 2422477"/>
              <a:gd name="connsiteY28" fmla="*/ 241637 h 2419350"/>
              <a:gd name="connsiteX29" fmla="*/ 725861 w 2422477"/>
              <a:gd name="connsiteY29" fmla="*/ 486257 h 2419350"/>
              <a:gd name="connsiteX30" fmla="*/ 1212756 w 2422477"/>
              <a:gd name="connsiteY30" fmla="*/ 0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22477" h="2419350">
                <a:moveTo>
                  <a:pt x="1212756" y="0"/>
                </a:moveTo>
                <a:lnTo>
                  <a:pt x="1693553" y="480167"/>
                </a:lnTo>
                <a:lnTo>
                  <a:pt x="1626949" y="470126"/>
                </a:lnTo>
                <a:cubicBezTo>
                  <a:pt x="1561005" y="467889"/>
                  <a:pt x="1498841" y="489144"/>
                  <a:pt x="1451798" y="533891"/>
                </a:cubicBezTo>
                <a:cubicBezTo>
                  <a:pt x="1353232" y="635319"/>
                  <a:pt x="1371153" y="811326"/>
                  <a:pt x="1490627" y="930652"/>
                </a:cubicBezTo>
                <a:cubicBezTo>
                  <a:pt x="1610101" y="1049979"/>
                  <a:pt x="1786325" y="1067878"/>
                  <a:pt x="1884891" y="969434"/>
                </a:cubicBezTo>
                <a:cubicBezTo>
                  <a:pt x="1947615" y="906787"/>
                  <a:pt x="1965536" y="814309"/>
                  <a:pt x="1938655" y="727797"/>
                </a:cubicBezTo>
                <a:cubicBezTo>
                  <a:pt x="2241074" y="1027978"/>
                  <a:pt x="2354481" y="1140546"/>
                  <a:pt x="2397008" y="1182759"/>
                </a:cubicBezTo>
                <a:lnTo>
                  <a:pt x="2406528" y="1192208"/>
                </a:lnTo>
                <a:lnTo>
                  <a:pt x="2422477" y="1208136"/>
                </a:lnTo>
                <a:lnTo>
                  <a:pt x="2337352" y="1293155"/>
                </a:lnTo>
                <a:cubicBezTo>
                  <a:pt x="1938655" y="1691361"/>
                  <a:pt x="1938655" y="1691361"/>
                  <a:pt x="1938655" y="1691361"/>
                </a:cubicBezTo>
                <a:cubicBezTo>
                  <a:pt x="1965536" y="1601865"/>
                  <a:pt x="1947615" y="1509387"/>
                  <a:pt x="1884891" y="1449724"/>
                </a:cubicBezTo>
                <a:cubicBezTo>
                  <a:pt x="1786325" y="1351279"/>
                  <a:pt x="1610101" y="1366195"/>
                  <a:pt x="1490627" y="1485522"/>
                </a:cubicBezTo>
                <a:cubicBezTo>
                  <a:pt x="1371153" y="1604849"/>
                  <a:pt x="1353232" y="1783839"/>
                  <a:pt x="1451798" y="1882283"/>
                </a:cubicBezTo>
                <a:cubicBezTo>
                  <a:pt x="1514522" y="1941947"/>
                  <a:pt x="1604127" y="1959846"/>
                  <a:pt x="1693733" y="1935980"/>
                </a:cubicBezTo>
                <a:cubicBezTo>
                  <a:pt x="1212850" y="2416271"/>
                  <a:pt x="1212850" y="2416271"/>
                  <a:pt x="1212850" y="2416271"/>
                </a:cubicBezTo>
                <a:lnTo>
                  <a:pt x="1214338" y="2417766"/>
                </a:lnTo>
                <a:lnTo>
                  <a:pt x="1212756" y="2419350"/>
                </a:lnTo>
                <a:cubicBezTo>
                  <a:pt x="1212756" y="2419350"/>
                  <a:pt x="1212756" y="2419350"/>
                  <a:pt x="716900" y="1924144"/>
                </a:cubicBezTo>
                <a:cubicBezTo>
                  <a:pt x="812487" y="1956959"/>
                  <a:pt x="911060" y="1942043"/>
                  <a:pt x="976776" y="1876413"/>
                </a:cubicBezTo>
                <a:cubicBezTo>
                  <a:pt x="1078337" y="1774986"/>
                  <a:pt x="1060415" y="1598979"/>
                  <a:pt x="940931" y="1479652"/>
                </a:cubicBezTo>
                <a:cubicBezTo>
                  <a:pt x="821448" y="1360325"/>
                  <a:pt x="642223" y="1342426"/>
                  <a:pt x="543649" y="1440871"/>
                </a:cubicBezTo>
                <a:cubicBezTo>
                  <a:pt x="477933" y="1509484"/>
                  <a:pt x="462998" y="1607928"/>
                  <a:pt x="495856" y="1703390"/>
                </a:cubicBezTo>
                <a:cubicBezTo>
                  <a:pt x="495856" y="1703390"/>
                  <a:pt x="495856" y="1703390"/>
                  <a:pt x="0" y="1208184"/>
                </a:cubicBezTo>
                <a:cubicBezTo>
                  <a:pt x="0" y="1208184"/>
                  <a:pt x="0" y="1208184"/>
                  <a:pt x="480920" y="730877"/>
                </a:cubicBezTo>
                <a:cubicBezTo>
                  <a:pt x="391308" y="754742"/>
                  <a:pt x="298708" y="736843"/>
                  <a:pt x="238966" y="677180"/>
                </a:cubicBezTo>
                <a:cubicBezTo>
                  <a:pt x="137406" y="575752"/>
                  <a:pt x="155328" y="399745"/>
                  <a:pt x="274811" y="280418"/>
                </a:cubicBezTo>
                <a:cubicBezTo>
                  <a:pt x="394295" y="161091"/>
                  <a:pt x="573520" y="143192"/>
                  <a:pt x="672094" y="241637"/>
                </a:cubicBezTo>
                <a:cubicBezTo>
                  <a:pt x="731835" y="304283"/>
                  <a:pt x="749758" y="396762"/>
                  <a:pt x="725861" y="486257"/>
                </a:cubicBezTo>
                <a:cubicBezTo>
                  <a:pt x="725861" y="486257"/>
                  <a:pt x="725861" y="486257"/>
                  <a:pt x="1212756" y="0"/>
                </a:cubicBezTo>
                <a:close/>
              </a:path>
            </a:pathLst>
          </a:custGeom>
          <a:solidFill>
            <a:srgbClr val="FF4300">
              <a:alpha val="54000"/>
            </a:srgbClr>
          </a:solidFill>
          <a:ln>
            <a:noFill/>
          </a:ln>
        </p:spPr>
        <p:txBody>
          <a:bodyPr vert="horz" wrap="square" lIns="68580" tIns="34290" rIns="68580" bIns="34290" numCol="1" anchor="t" anchorCtr="0" compatLnSpc="1">
            <a:prstTxWarp prst="textNoShape">
              <a:avLst/>
            </a:prstTxWarp>
            <a:noAutofit/>
          </a:bodyPr>
          <a:lstStyle/>
          <a:p>
            <a:endParaRPr lang="en-US" sz="1350"/>
          </a:p>
        </p:txBody>
      </p:sp>
      <p:sp>
        <p:nvSpPr>
          <p:cNvPr id="7" name="Freeform: Shape 32">
            <a:extLst>
              <a:ext uri="{FF2B5EF4-FFF2-40B4-BE49-F238E27FC236}">
                <a16:creationId xmlns:a16="http://schemas.microsoft.com/office/drawing/2014/main" id="{28F37372-06FE-7C09-69AF-BCDAE1B13ABC}"/>
              </a:ext>
            </a:extLst>
          </p:cNvPr>
          <p:cNvSpPr>
            <a:spLocks/>
          </p:cNvSpPr>
          <p:nvPr/>
        </p:nvSpPr>
        <p:spPr bwMode="auto">
          <a:xfrm rot="20818138">
            <a:off x="181204" y="3323376"/>
            <a:ext cx="1814512" cy="1814513"/>
          </a:xfrm>
          <a:custGeom>
            <a:avLst/>
            <a:gdLst>
              <a:gd name="connsiteX0" fmla="*/ 1209674 w 2419349"/>
              <a:gd name="connsiteY0" fmla="*/ 0 h 2419350"/>
              <a:gd name="connsiteX1" fmla="*/ 1690557 w 2419349"/>
              <a:gd name="connsiteY1" fmla="*/ 483274 h 2419350"/>
              <a:gd name="connsiteX2" fmla="*/ 1747307 w 2419349"/>
              <a:gd name="connsiteY2" fmla="*/ 241637 h 2419350"/>
              <a:gd name="connsiteX3" fmla="*/ 2141572 w 2419349"/>
              <a:gd name="connsiteY3" fmla="*/ 277435 h 2419350"/>
              <a:gd name="connsiteX4" fmla="*/ 2180401 w 2419349"/>
              <a:gd name="connsiteY4" fmla="*/ 674196 h 2419350"/>
              <a:gd name="connsiteX5" fmla="*/ 1938466 w 2419349"/>
              <a:gd name="connsiteY5" fmla="*/ 727893 h 2419350"/>
              <a:gd name="connsiteX6" fmla="*/ 2419349 w 2419349"/>
              <a:gd name="connsiteY6" fmla="*/ 1208184 h 2419350"/>
              <a:gd name="connsiteX7" fmla="*/ 1923531 w 2419349"/>
              <a:gd name="connsiteY7" fmla="*/ 1703390 h 2419350"/>
              <a:gd name="connsiteX8" fmla="*/ 1875742 w 2419349"/>
              <a:gd name="connsiteY8" fmla="*/ 1443854 h 2419350"/>
              <a:gd name="connsiteX9" fmla="*/ 1481477 w 2419349"/>
              <a:gd name="connsiteY9" fmla="*/ 1479652 h 2419350"/>
              <a:gd name="connsiteX10" fmla="*/ 1442648 w 2419349"/>
              <a:gd name="connsiteY10" fmla="*/ 1876413 h 2419350"/>
              <a:gd name="connsiteX11" fmla="*/ 1705491 w 2419349"/>
              <a:gd name="connsiteY11" fmla="*/ 1924144 h 2419350"/>
              <a:gd name="connsiteX12" fmla="*/ 1209674 w 2419349"/>
              <a:gd name="connsiteY12" fmla="*/ 2419350 h 2419350"/>
              <a:gd name="connsiteX13" fmla="*/ 707883 w 2419349"/>
              <a:gd name="connsiteY13" fmla="*/ 1918178 h 2419350"/>
              <a:gd name="connsiteX14" fmla="*/ 663080 w 2419349"/>
              <a:gd name="connsiteY14" fmla="*/ 2189646 h 2419350"/>
              <a:gd name="connsiteX15" fmla="*/ 265829 w 2419349"/>
              <a:gd name="connsiteY15" fmla="*/ 2150865 h 2419350"/>
              <a:gd name="connsiteX16" fmla="*/ 229986 w 2419349"/>
              <a:gd name="connsiteY16" fmla="*/ 1757087 h 2419350"/>
              <a:gd name="connsiteX17" fmla="*/ 501790 w 2419349"/>
              <a:gd name="connsiteY17" fmla="*/ 1712339 h 2419350"/>
              <a:gd name="connsiteX18" fmla="*/ 88327 w 2419349"/>
              <a:gd name="connsiteY18" fmla="*/ 1296928 h 2419350"/>
              <a:gd name="connsiteX19" fmla="*/ 1487 w 2419349"/>
              <a:gd name="connsiteY19" fmla="*/ 1209679 h 2419350"/>
              <a:gd name="connsiteX20" fmla="*/ 1488 w 2419349"/>
              <a:gd name="connsiteY20" fmla="*/ 1209679 h 2419350"/>
              <a:gd name="connsiteX21" fmla="*/ 0 w 2419349"/>
              <a:gd name="connsiteY21" fmla="*/ 1208184 h 2419350"/>
              <a:gd name="connsiteX22" fmla="*/ 480883 w 2419349"/>
              <a:gd name="connsiteY22" fmla="*/ 727893 h 2419350"/>
              <a:gd name="connsiteX23" fmla="*/ 238948 w 2419349"/>
              <a:gd name="connsiteY23" fmla="*/ 674196 h 2419350"/>
              <a:gd name="connsiteX24" fmla="*/ 277777 w 2419349"/>
              <a:gd name="connsiteY24" fmla="*/ 277435 h 2419350"/>
              <a:gd name="connsiteX25" fmla="*/ 672041 w 2419349"/>
              <a:gd name="connsiteY25" fmla="*/ 241637 h 2419350"/>
              <a:gd name="connsiteX26" fmla="*/ 725805 w 2419349"/>
              <a:gd name="connsiteY26" fmla="*/ 483274 h 2419350"/>
              <a:gd name="connsiteX27" fmla="*/ 1124502 w 2419349"/>
              <a:gd name="connsiteY27" fmla="*/ 85068 h 2419350"/>
              <a:gd name="connsiteX28" fmla="*/ 1209627 w 2419349"/>
              <a:gd name="connsiteY28" fmla="*/ 50 h 2419350"/>
              <a:gd name="connsiteX29" fmla="*/ 1209626 w 2419349"/>
              <a:gd name="connsiteY29" fmla="*/ 49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19349" h="2419350">
                <a:moveTo>
                  <a:pt x="1209674" y="0"/>
                </a:moveTo>
                <a:cubicBezTo>
                  <a:pt x="1209674" y="0"/>
                  <a:pt x="1209674" y="0"/>
                  <a:pt x="1690557" y="483274"/>
                </a:cubicBezTo>
                <a:cubicBezTo>
                  <a:pt x="1666662" y="393778"/>
                  <a:pt x="1684583" y="301300"/>
                  <a:pt x="1747307" y="241637"/>
                </a:cubicBezTo>
                <a:cubicBezTo>
                  <a:pt x="1845873" y="140209"/>
                  <a:pt x="2022098" y="158108"/>
                  <a:pt x="2141572" y="277435"/>
                </a:cubicBezTo>
                <a:cubicBezTo>
                  <a:pt x="2261046" y="396762"/>
                  <a:pt x="2278967" y="575752"/>
                  <a:pt x="2180401" y="674196"/>
                </a:cubicBezTo>
                <a:cubicBezTo>
                  <a:pt x="2117677" y="733860"/>
                  <a:pt x="2028071" y="751759"/>
                  <a:pt x="1938466" y="727893"/>
                </a:cubicBezTo>
                <a:cubicBezTo>
                  <a:pt x="1938466" y="727893"/>
                  <a:pt x="1938466" y="727893"/>
                  <a:pt x="2419349" y="1208184"/>
                </a:cubicBezTo>
                <a:cubicBezTo>
                  <a:pt x="2419349" y="1208184"/>
                  <a:pt x="2419349" y="1208184"/>
                  <a:pt x="1923531" y="1703390"/>
                </a:cubicBezTo>
                <a:cubicBezTo>
                  <a:pt x="1956387" y="1610911"/>
                  <a:pt x="1941453" y="1509484"/>
                  <a:pt x="1875742" y="1443854"/>
                </a:cubicBezTo>
                <a:cubicBezTo>
                  <a:pt x="1777176" y="1345409"/>
                  <a:pt x="1600951" y="1360325"/>
                  <a:pt x="1481477" y="1479652"/>
                </a:cubicBezTo>
                <a:cubicBezTo>
                  <a:pt x="1362003" y="1598979"/>
                  <a:pt x="1344082" y="1777969"/>
                  <a:pt x="1442648" y="1876413"/>
                </a:cubicBezTo>
                <a:cubicBezTo>
                  <a:pt x="1508359" y="1942043"/>
                  <a:pt x="1609912" y="1956959"/>
                  <a:pt x="1705491" y="1924144"/>
                </a:cubicBezTo>
                <a:cubicBezTo>
                  <a:pt x="1705491" y="1924144"/>
                  <a:pt x="1705491" y="1924144"/>
                  <a:pt x="1209674" y="2419350"/>
                </a:cubicBezTo>
                <a:cubicBezTo>
                  <a:pt x="1209674" y="2419350"/>
                  <a:pt x="1209674" y="2419350"/>
                  <a:pt x="707883" y="1918178"/>
                </a:cubicBezTo>
                <a:cubicBezTo>
                  <a:pt x="743725" y="2016622"/>
                  <a:pt x="731777" y="2121033"/>
                  <a:pt x="663080" y="2189646"/>
                </a:cubicBezTo>
                <a:cubicBezTo>
                  <a:pt x="564514" y="2288091"/>
                  <a:pt x="385303" y="2270192"/>
                  <a:pt x="265829" y="2150865"/>
                </a:cubicBezTo>
                <a:cubicBezTo>
                  <a:pt x="146354" y="2031538"/>
                  <a:pt x="131420" y="1855531"/>
                  <a:pt x="229986" y="1757087"/>
                </a:cubicBezTo>
                <a:cubicBezTo>
                  <a:pt x="298684" y="1688474"/>
                  <a:pt x="403224" y="1673558"/>
                  <a:pt x="501790" y="1712339"/>
                </a:cubicBezTo>
                <a:cubicBezTo>
                  <a:pt x="501790" y="1712339"/>
                  <a:pt x="501790" y="1712339"/>
                  <a:pt x="88327" y="1296928"/>
                </a:cubicBezTo>
                <a:lnTo>
                  <a:pt x="1487" y="1209679"/>
                </a:lnTo>
                <a:lnTo>
                  <a:pt x="1488" y="1209679"/>
                </a:lnTo>
                <a:lnTo>
                  <a:pt x="0" y="1208184"/>
                </a:lnTo>
                <a:cubicBezTo>
                  <a:pt x="0" y="1208184"/>
                  <a:pt x="0" y="1208184"/>
                  <a:pt x="480883" y="727893"/>
                </a:cubicBezTo>
                <a:cubicBezTo>
                  <a:pt x="391277" y="751759"/>
                  <a:pt x="301672" y="733860"/>
                  <a:pt x="238948" y="674196"/>
                </a:cubicBezTo>
                <a:cubicBezTo>
                  <a:pt x="140382" y="575752"/>
                  <a:pt x="158303" y="396762"/>
                  <a:pt x="277777" y="277435"/>
                </a:cubicBezTo>
                <a:cubicBezTo>
                  <a:pt x="397251" y="158108"/>
                  <a:pt x="573475" y="143192"/>
                  <a:pt x="672041" y="241637"/>
                </a:cubicBezTo>
                <a:cubicBezTo>
                  <a:pt x="734765" y="301300"/>
                  <a:pt x="752686" y="393778"/>
                  <a:pt x="725805" y="483274"/>
                </a:cubicBezTo>
                <a:cubicBezTo>
                  <a:pt x="725805" y="483274"/>
                  <a:pt x="725805" y="483274"/>
                  <a:pt x="1124502" y="85068"/>
                </a:cubicBezTo>
                <a:lnTo>
                  <a:pt x="1209627" y="50"/>
                </a:lnTo>
                <a:lnTo>
                  <a:pt x="1209626" y="49"/>
                </a:lnTo>
                <a:close/>
              </a:path>
            </a:pathLst>
          </a:custGeom>
          <a:solidFill>
            <a:srgbClr val="006AF9">
              <a:alpha val="54000"/>
            </a:srgbClr>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8" name="Freeform 6">
            <a:extLst>
              <a:ext uri="{FF2B5EF4-FFF2-40B4-BE49-F238E27FC236}">
                <a16:creationId xmlns:a16="http://schemas.microsoft.com/office/drawing/2014/main" id="{9985548A-C9BC-2971-1CC3-52D6FE7255A6}"/>
              </a:ext>
            </a:extLst>
          </p:cNvPr>
          <p:cNvSpPr>
            <a:spLocks/>
          </p:cNvSpPr>
          <p:nvPr/>
        </p:nvSpPr>
        <p:spPr bwMode="auto">
          <a:xfrm>
            <a:off x="1828418" y="4806656"/>
            <a:ext cx="1816894" cy="1812131"/>
          </a:xfrm>
          <a:custGeom>
            <a:avLst/>
            <a:gdLst>
              <a:gd name="T0" fmla="*/ 730 w 811"/>
              <a:gd name="T1" fmla="*/ 585 h 810"/>
              <a:gd name="T2" fmla="*/ 649 w 811"/>
              <a:gd name="T3" fmla="*/ 567 h 810"/>
              <a:gd name="T4" fmla="*/ 811 w 811"/>
              <a:gd name="T5" fmla="*/ 405 h 810"/>
              <a:gd name="T6" fmla="*/ 645 w 811"/>
              <a:gd name="T7" fmla="*/ 239 h 810"/>
              <a:gd name="T8" fmla="*/ 629 w 811"/>
              <a:gd name="T9" fmla="*/ 327 h 810"/>
              <a:gd name="T10" fmla="*/ 496 w 811"/>
              <a:gd name="T11" fmla="*/ 314 h 810"/>
              <a:gd name="T12" fmla="*/ 484 w 811"/>
              <a:gd name="T13" fmla="*/ 182 h 810"/>
              <a:gd name="T14" fmla="*/ 571 w 811"/>
              <a:gd name="T15" fmla="*/ 166 h 810"/>
              <a:gd name="T16" fmla="*/ 405 w 811"/>
              <a:gd name="T17" fmla="*/ 0 h 810"/>
              <a:gd name="T18" fmla="*/ 244 w 811"/>
              <a:gd name="T19" fmla="*/ 161 h 810"/>
              <a:gd name="T20" fmla="*/ 325 w 811"/>
              <a:gd name="T21" fmla="*/ 179 h 810"/>
              <a:gd name="T22" fmla="*/ 312 w 811"/>
              <a:gd name="T23" fmla="*/ 312 h 810"/>
              <a:gd name="T24" fmla="*/ 180 w 811"/>
              <a:gd name="T25" fmla="*/ 325 h 810"/>
              <a:gd name="T26" fmla="*/ 162 w 811"/>
              <a:gd name="T27" fmla="*/ 243 h 810"/>
              <a:gd name="T28" fmla="*/ 0 w 811"/>
              <a:gd name="T29" fmla="*/ 405 h 810"/>
              <a:gd name="T30" fmla="*/ 405 w 811"/>
              <a:gd name="T31" fmla="*/ 810 h 810"/>
              <a:gd name="T32" fmla="*/ 567 w 811"/>
              <a:gd name="T33" fmla="*/ 649 h 810"/>
              <a:gd name="T34" fmla="*/ 585 w 811"/>
              <a:gd name="T35" fmla="*/ 730 h 810"/>
              <a:gd name="T36" fmla="*/ 718 w 811"/>
              <a:gd name="T37" fmla="*/ 718 h 810"/>
              <a:gd name="T38" fmla="*/ 730 w 811"/>
              <a:gd name="T39" fmla="*/ 585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1" h="810">
                <a:moveTo>
                  <a:pt x="730" y="585"/>
                </a:moveTo>
                <a:cubicBezTo>
                  <a:pt x="710" y="564"/>
                  <a:pt x="679" y="559"/>
                  <a:pt x="649" y="567"/>
                </a:cubicBezTo>
                <a:cubicBezTo>
                  <a:pt x="811" y="405"/>
                  <a:pt x="811" y="405"/>
                  <a:pt x="811" y="405"/>
                </a:cubicBezTo>
                <a:cubicBezTo>
                  <a:pt x="645" y="239"/>
                  <a:pt x="645" y="239"/>
                  <a:pt x="645" y="239"/>
                </a:cubicBezTo>
                <a:cubicBezTo>
                  <a:pt x="656" y="271"/>
                  <a:pt x="651" y="305"/>
                  <a:pt x="629" y="327"/>
                </a:cubicBezTo>
                <a:cubicBezTo>
                  <a:pt x="596" y="360"/>
                  <a:pt x="536" y="354"/>
                  <a:pt x="496" y="314"/>
                </a:cubicBezTo>
                <a:cubicBezTo>
                  <a:pt x="456" y="274"/>
                  <a:pt x="450" y="215"/>
                  <a:pt x="484" y="182"/>
                </a:cubicBezTo>
                <a:cubicBezTo>
                  <a:pt x="506" y="160"/>
                  <a:pt x="539" y="155"/>
                  <a:pt x="571" y="166"/>
                </a:cubicBezTo>
                <a:cubicBezTo>
                  <a:pt x="405" y="0"/>
                  <a:pt x="405" y="0"/>
                  <a:pt x="405" y="0"/>
                </a:cubicBezTo>
                <a:cubicBezTo>
                  <a:pt x="244" y="161"/>
                  <a:pt x="244" y="161"/>
                  <a:pt x="244" y="161"/>
                </a:cubicBezTo>
                <a:cubicBezTo>
                  <a:pt x="274" y="153"/>
                  <a:pt x="304" y="159"/>
                  <a:pt x="325" y="179"/>
                </a:cubicBezTo>
                <a:cubicBezTo>
                  <a:pt x="358" y="213"/>
                  <a:pt x="352" y="272"/>
                  <a:pt x="312" y="312"/>
                </a:cubicBezTo>
                <a:cubicBezTo>
                  <a:pt x="272" y="352"/>
                  <a:pt x="213" y="358"/>
                  <a:pt x="180" y="325"/>
                </a:cubicBezTo>
                <a:cubicBezTo>
                  <a:pt x="159" y="304"/>
                  <a:pt x="153" y="273"/>
                  <a:pt x="162" y="243"/>
                </a:cubicBezTo>
                <a:cubicBezTo>
                  <a:pt x="0" y="405"/>
                  <a:pt x="0" y="405"/>
                  <a:pt x="0" y="405"/>
                </a:cubicBezTo>
                <a:cubicBezTo>
                  <a:pt x="405" y="810"/>
                  <a:pt x="405" y="810"/>
                  <a:pt x="405" y="810"/>
                </a:cubicBezTo>
                <a:cubicBezTo>
                  <a:pt x="567" y="649"/>
                  <a:pt x="567" y="649"/>
                  <a:pt x="567" y="649"/>
                </a:cubicBezTo>
                <a:cubicBezTo>
                  <a:pt x="559" y="679"/>
                  <a:pt x="564" y="709"/>
                  <a:pt x="585" y="730"/>
                </a:cubicBezTo>
                <a:cubicBezTo>
                  <a:pt x="618" y="763"/>
                  <a:pt x="678" y="758"/>
                  <a:pt x="718" y="718"/>
                </a:cubicBezTo>
                <a:cubicBezTo>
                  <a:pt x="758" y="677"/>
                  <a:pt x="763" y="618"/>
                  <a:pt x="730" y="585"/>
                </a:cubicBezTo>
                <a:close/>
              </a:path>
            </a:pathLst>
          </a:custGeom>
          <a:solidFill>
            <a:srgbClr val="2DB060">
              <a:alpha val="54000"/>
            </a:srgbClr>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2" name="Title 1"/>
          <p:cNvSpPr>
            <a:spLocks noGrp="1"/>
          </p:cNvSpPr>
          <p:nvPr>
            <p:ph type="title"/>
          </p:nvPr>
        </p:nvSpPr>
        <p:spPr>
          <a:xfrm>
            <a:off x="129927" y="685801"/>
            <a:ext cx="3241924" cy="5491162"/>
          </a:xfrm>
        </p:spPr>
        <p:txBody>
          <a:bodyPr>
            <a:normAutofit/>
          </a:bodyPr>
          <a:lstStyle/>
          <a:p>
            <a:r>
              <a:rPr lang="en-US" dirty="0"/>
              <a:t>Collaborating Effectively </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30">
            <a:extLst>
              <a:ext uri="{FF2B5EF4-FFF2-40B4-BE49-F238E27FC236}">
                <a16:creationId xmlns:a16="http://schemas.microsoft.com/office/drawing/2014/main" id="{6C4028FD-8BAA-4A19-BFDE-594D991B75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8650" y="556995"/>
            <a:ext cx="7886700" cy="1133693"/>
          </a:xfrm>
        </p:spPr>
        <p:txBody>
          <a:bodyPr>
            <a:normAutofit/>
          </a:bodyPr>
          <a:lstStyle/>
          <a:p>
            <a:r>
              <a:rPr lang="en-US" sz="4500"/>
              <a:t>Scenario 1: Device Refusal</a:t>
            </a:r>
          </a:p>
        </p:txBody>
      </p:sp>
      <p:graphicFrame>
        <p:nvGraphicFramePr>
          <p:cNvPr id="5" name="Content Placeholder 2">
            <a:extLst>
              <a:ext uri="{FF2B5EF4-FFF2-40B4-BE49-F238E27FC236}">
                <a16:creationId xmlns:a16="http://schemas.microsoft.com/office/drawing/2014/main" id="{39C790A9-CAA8-27D6-E442-4F73AC009659}"/>
              </a:ext>
            </a:extLst>
          </p:cNvPr>
          <p:cNvGraphicFramePr>
            <a:graphicFrameLocks noGrp="1"/>
          </p:cNvGraphicFramePr>
          <p:nvPr>
            <p:ph idx="1"/>
            <p:extLst>
              <p:ext uri="{D42A27DB-BD31-4B8C-83A1-F6EECF244321}">
                <p14:modId xmlns:p14="http://schemas.microsoft.com/office/powerpoint/2010/main" val="3946147139"/>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08B849D-181A-56AE-4DF2-3BA25D0A1132}"/>
            </a:ext>
          </a:extLst>
        </p:cNvPr>
        <p:cNvGrpSpPr/>
        <p:nvPr/>
      </p:nvGrpSpPr>
      <p:grpSpPr>
        <a:xfrm>
          <a:off x="0" y="0"/>
          <a:ext cx="0" cy="0"/>
          <a:chOff x="0" y="0"/>
          <a:chExt cx="0" cy="0"/>
        </a:xfrm>
      </p:grpSpPr>
      <p:sp useBgFill="1">
        <p:nvSpPr>
          <p:cNvPr id="45" name="Rectangle 44">
            <a:extLst>
              <a:ext uri="{FF2B5EF4-FFF2-40B4-BE49-F238E27FC236}">
                <a16:creationId xmlns:a16="http://schemas.microsoft.com/office/drawing/2014/main" id="{6C4028FD-8BAA-4A19-BFDE-594D991B75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1430DBB-3E25-4492-A42E-ADAAB1D559DE}"/>
              </a:ext>
            </a:extLst>
          </p:cNvPr>
          <p:cNvSpPr>
            <a:spLocks noGrp="1"/>
          </p:cNvSpPr>
          <p:nvPr>
            <p:ph type="title"/>
          </p:nvPr>
        </p:nvSpPr>
        <p:spPr>
          <a:xfrm>
            <a:off x="628650" y="556995"/>
            <a:ext cx="7886700" cy="1133693"/>
          </a:xfrm>
        </p:spPr>
        <p:txBody>
          <a:bodyPr>
            <a:normAutofit/>
          </a:bodyPr>
          <a:lstStyle/>
          <a:p>
            <a:pPr>
              <a:lnSpc>
                <a:spcPct val="90000"/>
              </a:lnSpc>
            </a:pPr>
            <a:r>
              <a:rPr lang="en-US" sz="3800"/>
              <a:t>Scenario 2: Noncompliance with Task</a:t>
            </a:r>
          </a:p>
        </p:txBody>
      </p:sp>
      <p:graphicFrame>
        <p:nvGraphicFramePr>
          <p:cNvPr id="5" name="Content Placeholder 2">
            <a:extLst>
              <a:ext uri="{FF2B5EF4-FFF2-40B4-BE49-F238E27FC236}">
                <a16:creationId xmlns:a16="http://schemas.microsoft.com/office/drawing/2014/main" id="{56E04475-EFFC-E8B1-2413-9B94918EF8C7}"/>
              </a:ext>
            </a:extLst>
          </p:cNvPr>
          <p:cNvGraphicFramePr>
            <a:graphicFrameLocks noGrp="1"/>
          </p:cNvGraphicFramePr>
          <p:nvPr>
            <p:ph idx="1"/>
            <p:extLst>
              <p:ext uri="{D42A27DB-BD31-4B8C-83A1-F6EECF244321}">
                <p14:modId xmlns:p14="http://schemas.microsoft.com/office/powerpoint/2010/main" val="3917276439"/>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844332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A7404DD-0B03-6CF9-2F14-FDC97918A32F}"/>
            </a:ext>
          </a:extLst>
        </p:cNvPr>
        <p:cNvGrpSpPr/>
        <p:nvPr/>
      </p:nvGrpSpPr>
      <p:grpSpPr>
        <a:xfrm>
          <a:off x="0" y="0"/>
          <a:ext cx="0" cy="0"/>
          <a:chOff x="0" y="0"/>
          <a:chExt cx="0" cy="0"/>
        </a:xfrm>
      </p:grpSpPr>
      <p:pic>
        <p:nvPicPr>
          <p:cNvPr id="19" name="Picture 18">
            <a:extLst>
              <a:ext uri="{FF2B5EF4-FFF2-40B4-BE49-F238E27FC236}">
                <a16:creationId xmlns:a16="http://schemas.microsoft.com/office/drawing/2014/main" id="{1E43D46C-AFE7-7C6D-753E-60001016612B}"/>
              </a:ext>
            </a:extLst>
          </p:cNvPr>
          <p:cNvPicPr>
            <a:picLocks noChangeAspect="1"/>
          </p:cNvPicPr>
          <p:nvPr/>
        </p:nvPicPr>
        <p:blipFill>
          <a:blip r:embed="rId2">
            <a:duotone>
              <a:schemeClr val="bg2">
                <a:shade val="45000"/>
                <a:satMod val="135000"/>
              </a:schemeClr>
              <a:prstClr val="white"/>
            </a:duotone>
          </a:blip>
          <a:srcRect/>
          <a:stretch>
            <a:fillRect/>
          </a:stretch>
        </p:blipFill>
        <p:spPr>
          <a:xfrm>
            <a:off x="20" y="10"/>
            <a:ext cx="9143980" cy="6857990"/>
          </a:xfrm>
          <a:prstGeom prst="rect">
            <a:avLst/>
          </a:prstGeom>
        </p:spPr>
      </p:pic>
      <p:sp>
        <p:nvSpPr>
          <p:cNvPr id="23" name="Rectangle 22">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DBC28AF-487D-F8D6-0D0E-C3BD07C3B809}"/>
              </a:ext>
            </a:extLst>
          </p:cNvPr>
          <p:cNvSpPr>
            <a:spLocks noGrp="1"/>
          </p:cNvSpPr>
          <p:nvPr>
            <p:ph type="title"/>
          </p:nvPr>
        </p:nvSpPr>
        <p:spPr>
          <a:xfrm>
            <a:off x="628650" y="365125"/>
            <a:ext cx="7886700" cy="1325563"/>
          </a:xfrm>
        </p:spPr>
        <p:txBody>
          <a:bodyPr>
            <a:normAutofit/>
          </a:bodyPr>
          <a:lstStyle/>
          <a:p>
            <a:r>
              <a:rPr lang="en-US"/>
              <a:t>Scenario 3: Echolalia</a:t>
            </a:r>
          </a:p>
        </p:txBody>
      </p:sp>
      <p:graphicFrame>
        <p:nvGraphicFramePr>
          <p:cNvPr id="5" name="Content Placeholder 2">
            <a:extLst>
              <a:ext uri="{FF2B5EF4-FFF2-40B4-BE49-F238E27FC236}">
                <a16:creationId xmlns:a16="http://schemas.microsoft.com/office/drawing/2014/main" id="{9005C8F2-D476-4F81-69B3-E45C068BBCFE}"/>
              </a:ext>
            </a:extLst>
          </p:cNvPr>
          <p:cNvGraphicFramePr>
            <a:graphicFrameLocks noGrp="1"/>
          </p:cNvGraphicFramePr>
          <p:nvPr>
            <p:ph idx="1"/>
            <p:extLst>
              <p:ext uri="{D42A27DB-BD31-4B8C-83A1-F6EECF244321}">
                <p14:modId xmlns:p14="http://schemas.microsoft.com/office/powerpoint/2010/main" val="567985115"/>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363666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8345CD43-6398-94A6-E741-F58DF7AC0D60}"/>
            </a:ext>
          </a:extLst>
        </p:cNvPr>
        <p:cNvGrpSpPr/>
        <p:nvPr/>
      </p:nvGrpSpPr>
      <p:grpSpPr>
        <a:xfrm>
          <a:off x="0" y="0"/>
          <a:ext cx="0" cy="0"/>
          <a:chOff x="0" y="0"/>
          <a:chExt cx="0" cy="0"/>
        </a:xfrm>
      </p:grpSpPr>
      <p:pic>
        <p:nvPicPr>
          <p:cNvPr id="19" name="Picture 18">
            <a:extLst>
              <a:ext uri="{FF2B5EF4-FFF2-40B4-BE49-F238E27FC236}">
                <a16:creationId xmlns:a16="http://schemas.microsoft.com/office/drawing/2014/main" id="{C9AE2F55-0357-59C1-24E9-5E0A300A82D2}"/>
              </a:ext>
            </a:extLst>
          </p:cNvPr>
          <p:cNvPicPr>
            <a:picLocks noChangeAspect="1"/>
          </p:cNvPicPr>
          <p:nvPr/>
        </p:nvPicPr>
        <p:blipFill>
          <a:blip r:embed="rId2">
            <a:duotone>
              <a:schemeClr val="bg2">
                <a:shade val="45000"/>
                <a:satMod val="135000"/>
              </a:schemeClr>
              <a:prstClr val="white"/>
            </a:duotone>
          </a:blip>
          <a:srcRect r="10999" b="-1"/>
          <a:stretch>
            <a:fillRect/>
          </a:stretch>
        </p:blipFill>
        <p:spPr>
          <a:xfrm>
            <a:off x="20" y="10"/>
            <a:ext cx="9143980" cy="6857990"/>
          </a:xfrm>
          <a:prstGeom prst="rect">
            <a:avLst/>
          </a:prstGeom>
        </p:spPr>
      </p:pic>
      <p:sp>
        <p:nvSpPr>
          <p:cNvPr id="23" name="Rectangle 22">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D3E2799-A0F6-FE58-5141-8C084C1B670F}"/>
              </a:ext>
            </a:extLst>
          </p:cNvPr>
          <p:cNvSpPr>
            <a:spLocks noGrp="1"/>
          </p:cNvSpPr>
          <p:nvPr>
            <p:ph type="title"/>
          </p:nvPr>
        </p:nvSpPr>
        <p:spPr>
          <a:xfrm>
            <a:off x="628650" y="365125"/>
            <a:ext cx="7886700" cy="1325563"/>
          </a:xfrm>
        </p:spPr>
        <p:txBody>
          <a:bodyPr>
            <a:normAutofit/>
          </a:bodyPr>
          <a:lstStyle/>
          <a:p>
            <a:r>
              <a:rPr lang="en-US"/>
              <a:t>Scenario 4: Transition Trouble</a:t>
            </a:r>
          </a:p>
        </p:txBody>
      </p:sp>
      <p:graphicFrame>
        <p:nvGraphicFramePr>
          <p:cNvPr id="5" name="Content Placeholder 2">
            <a:extLst>
              <a:ext uri="{FF2B5EF4-FFF2-40B4-BE49-F238E27FC236}">
                <a16:creationId xmlns:a16="http://schemas.microsoft.com/office/drawing/2014/main" id="{E7227AFE-EFFB-1BB3-C249-E7519BF9C837}"/>
              </a:ext>
            </a:extLst>
          </p:cNvPr>
          <p:cNvGraphicFramePr>
            <a:graphicFrameLocks noGrp="1"/>
          </p:cNvGraphicFramePr>
          <p:nvPr>
            <p:ph idx="1"/>
            <p:extLst>
              <p:ext uri="{D42A27DB-BD31-4B8C-83A1-F6EECF244321}">
                <p14:modId xmlns:p14="http://schemas.microsoft.com/office/powerpoint/2010/main" val="1443980190"/>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356402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955A2079-FA98-4876-80F0-72364A7D2E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8650" y="557188"/>
            <a:ext cx="7886700" cy="1133499"/>
          </a:xfrm>
        </p:spPr>
        <p:txBody>
          <a:bodyPr>
            <a:normAutofit/>
          </a:bodyPr>
          <a:lstStyle/>
          <a:p>
            <a:r>
              <a:rPr lang="en-US" sz="4200" dirty="0"/>
              <a:t>Joint Planning Activity</a:t>
            </a:r>
          </a:p>
        </p:txBody>
      </p:sp>
      <p:graphicFrame>
        <p:nvGraphicFramePr>
          <p:cNvPr id="5" name="Content Placeholder 2">
            <a:extLst>
              <a:ext uri="{FF2B5EF4-FFF2-40B4-BE49-F238E27FC236}">
                <a16:creationId xmlns:a16="http://schemas.microsoft.com/office/drawing/2014/main" id="{2CEBB795-0739-FA5A-F97D-F1585B054568}"/>
              </a:ext>
            </a:extLst>
          </p:cNvPr>
          <p:cNvGraphicFramePr>
            <a:graphicFrameLocks noGrp="1"/>
          </p:cNvGraphicFramePr>
          <p:nvPr>
            <p:ph idx="1"/>
            <p:extLst>
              <p:ext uri="{D42A27DB-BD31-4B8C-83A1-F6EECF244321}">
                <p14:modId xmlns:p14="http://schemas.microsoft.com/office/powerpoint/2010/main" val="3376108553"/>
              </p:ext>
            </p:extLst>
          </p:nvPr>
        </p:nvGraphicFramePr>
        <p:xfrm>
          <a:off x="628650" y="1828800"/>
          <a:ext cx="7886700"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4" name="Rectangle 3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0"/>
            <a:ext cx="9143999" cy="2170031"/>
          </a:xfrm>
          <a:prstGeom prst="rect">
            <a:avLst/>
          </a:prstGeom>
          <a:gradFill>
            <a:gsLst>
              <a:gs pos="0">
                <a:srgbClr val="000000">
                  <a:alpha val="96000"/>
                </a:srgbClr>
              </a:gs>
              <a:gs pos="100000">
                <a:schemeClr val="accent1">
                  <a:lumMod val="7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062114" y="0"/>
            <a:ext cx="3072908" cy="2170661"/>
          </a:xfrm>
          <a:prstGeom prst="rect">
            <a:avLst/>
          </a:prstGeom>
          <a:gradFill>
            <a:gsLst>
              <a:gs pos="19000">
                <a:schemeClr val="accent1">
                  <a:lumMod val="50000"/>
                  <a:alpha val="68000"/>
                </a:schemeClr>
              </a:gs>
              <a:gs pos="100000">
                <a:schemeClr val="accent1">
                  <a:alpha val="48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486646" y="-3486043"/>
            <a:ext cx="2170709" cy="9144000"/>
          </a:xfrm>
          <a:prstGeom prst="rect">
            <a:avLst/>
          </a:prstGeom>
          <a:gradFill>
            <a:gsLst>
              <a:gs pos="23000">
                <a:schemeClr val="accent1">
                  <a:lumMod val="75000"/>
                  <a:alpha val="16000"/>
                </a:schemeClr>
              </a:gs>
              <a:gs pos="99000">
                <a:srgbClr val="000000">
                  <a:alpha val="45000"/>
                </a:srgb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037673" y="348865"/>
            <a:ext cx="7288583" cy="1576446"/>
          </a:xfrm>
        </p:spPr>
        <p:txBody>
          <a:bodyPr anchor="ctr">
            <a:normAutofit/>
          </a:bodyPr>
          <a:lstStyle/>
          <a:p>
            <a:r>
              <a:rPr lang="en-US" sz="3500" dirty="0">
                <a:solidFill>
                  <a:srgbClr val="FFFFFF"/>
                </a:solidFill>
              </a:rPr>
              <a:t>Wrap-Up &amp; Discussion</a:t>
            </a:r>
          </a:p>
        </p:txBody>
      </p:sp>
      <p:graphicFrame>
        <p:nvGraphicFramePr>
          <p:cNvPr id="26" name="Content Placeholder 2">
            <a:extLst>
              <a:ext uri="{FF2B5EF4-FFF2-40B4-BE49-F238E27FC236}">
                <a16:creationId xmlns:a16="http://schemas.microsoft.com/office/drawing/2014/main" id="{09C67EAE-95E4-C82A-DE5C-67D8AF96BBEB}"/>
              </a:ext>
            </a:extLst>
          </p:cNvPr>
          <p:cNvGraphicFramePr>
            <a:graphicFrameLocks noGrp="1"/>
          </p:cNvGraphicFramePr>
          <p:nvPr>
            <p:ph idx="1"/>
            <p:extLst>
              <p:ext uri="{D42A27DB-BD31-4B8C-83A1-F6EECF244321}">
                <p14:modId xmlns:p14="http://schemas.microsoft.com/office/powerpoint/2010/main" val="1275969686"/>
              </p:ext>
            </p:extLst>
          </p:nvPr>
        </p:nvGraphicFramePr>
        <p:xfrm>
          <a:off x="483042" y="2615979"/>
          <a:ext cx="8195871" cy="36894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44384" y="1966417"/>
            <a:ext cx="5605629" cy="994172"/>
          </a:xfrm>
        </p:spPr>
        <p:txBody>
          <a:bodyPr>
            <a:normAutofit/>
          </a:bodyPr>
          <a:lstStyle/>
          <a:p>
            <a:r>
              <a:rPr lang="en-US" sz="3850" b="1" u="sng" dirty="0"/>
              <a:t>Thank You!</a:t>
            </a:r>
          </a:p>
        </p:txBody>
      </p:sp>
      <p:sp>
        <p:nvSpPr>
          <p:cNvPr id="3" name="Content Placeholder 2"/>
          <p:cNvSpPr>
            <a:spLocks noGrp="1"/>
          </p:cNvSpPr>
          <p:nvPr>
            <p:ph idx="1"/>
          </p:nvPr>
        </p:nvSpPr>
        <p:spPr>
          <a:xfrm>
            <a:off x="852321" y="2227943"/>
            <a:ext cx="5033221" cy="3788227"/>
          </a:xfrm>
        </p:spPr>
        <p:txBody>
          <a:bodyPr anchor="ctr">
            <a:normAutofit/>
          </a:bodyPr>
          <a:lstStyle/>
          <a:p>
            <a:r>
              <a:rPr lang="en-US" sz="2100" dirty="0"/>
              <a:t>Contact us :    </a:t>
            </a:r>
          </a:p>
          <a:p>
            <a:pPr marL="0" indent="0">
              <a:buNone/>
            </a:pPr>
            <a:r>
              <a:rPr lang="en-US" sz="2100" dirty="0"/>
              <a:t> </a:t>
            </a:r>
            <a:r>
              <a:rPr lang="en-US" sz="2100" b="1" dirty="0"/>
              <a:t>	(318) 396-5210</a:t>
            </a:r>
            <a:r>
              <a:rPr lang="en-US" sz="1700" b="1" dirty="0"/>
              <a:t> </a:t>
            </a:r>
            <a:r>
              <a:rPr lang="en-US" sz="1700" dirty="0"/>
              <a:t>	</a:t>
            </a:r>
            <a:r>
              <a:rPr lang="en-US" sz="1700" dirty="0">
                <a:hlinkClick r:id="rId2"/>
              </a:rPr>
              <a:t>positivebehavioroutcomes@gmail.com</a:t>
            </a:r>
            <a:endParaRPr lang="en-US" sz="1700" dirty="0"/>
          </a:p>
          <a:p>
            <a:pPr marL="0" indent="0">
              <a:buNone/>
            </a:pPr>
            <a:r>
              <a:rPr lang="en-US" sz="2100" dirty="0"/>
              <a:t>      	</a:t>
            </a:r>
            <a:r>
              <a:rPr lang="en-US" sz="2100" i="1" dirty="0"/>
              <a:t>3602 Cypress St. Suite D			                             	West Monroe, LA 71291</a:t>
            </a:r>
          </a:p>
        </p:txBody>
      </p:sp>
      <p:sp>
        <p:nvSpPr>
          <p:cNvPr id="10" name="Rectangle 9">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189435" y="0"/>
            <a:ext cx="195456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Oval 11">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29567" y="2369132"/>
            <a:ext cx="2119736" cy="2119736"/>
          </a:xfrm>
          <a:prstGeom prst="ellipse">
            <a:avLst/>
          </a:prstGeom>
          <a:solidFill>
            <a:srgbClr val="FFFFFF"/>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 name="Graphic 6" descr="Envelope">
            <a:extLst>
              <a:ext uri="{FF2B5EF4-FFF2-40B4-BE49-F238E27FC236}">
                <a16:creationId xmlns:a16="http://schemas.microsoft.com/office/drawing/2014/main" id="{4EE8C1FB-E164-641D-0650-C78CD3FA72E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4964" y="2865141"/>
            <a:ext cx="1143455" cy="1143455"/>
          </a:xfrm>
          <a:prstGeom prst="rect">
            <a:avLst/>
          </a:prstGeom>
        </p:spPr>
      </p:pic>
      <p:sp>
        <p:nvSpPr>
          <p:cNvPr id="6" name="Freeform: Shape 32">
            <a:extLst>
              <a:ext uri="{FF2B5EF4-FFF2-40B4-BE49-F238E27FC236}">
                <a16:creationId xmlns:a16="http://schemas.microsoft.com/office/drawing/2014/main" id="{FC674445-DF00-DA88-F2EF-3901364C86D6}"/>
              </a:ext>
            </a:extLst>
          </p:cNvPr>
          <p:cNvSpPr>
            <a:spLocks/>
          </p:cNvSpPr>
          <p:nvPr/>
        </p:nvSpPr>
        <p:spPr bwMode="auto">
          <a:xfrm rot="333806">
            <a:off x="93714" y="126664"/>
            <a:ext cx="1499147" cy="1423500"/>
          </a:xfrm>
          <a:custGeom>
            <a:avLst/>
            <a:gdLst>
              <a:gd name="connsiteX0" fmla="*/ 1209674 w 2419349"/>
              <a:gd name="connsiteY0" fmla="*/ 0 h 2419350"/>
              <a:gd name="connsiteX1" fmla="*/ 1690557 w 2419349"/>
              <a:gd name="connsiteY1" fmla="*/ 483274 h 2419350"/>
              <a:gd name="connsiteX2" fmla="*/ 1747307 w 2419349"/>
              <a:gd name="connsiteY2" fmla="*/ 241637 h 2419350"/>
              <a:gd name="connsiteX3" fmla="*/ 2141572 w 2419349"/>
              <a:gd name="connsiteY3" fmla="*/ 277435 h 2419350"/>
              <a:gd name="connsiteX4" fmla="*/ 2180401 w 2419349"/>
              <a:gd name="connsiteY4" fmla="*/ 674196 h 2419350"/>
              <a:gd name="connsiteX5" fmla="*/ 1938466 w 2419349"/>
              <a:gd name="connsiteY5" fmla="*/ 727893 h 2419350"/>
              <a:gd name="connsiteX6" fmla="*/ 2419349 w 2419349"/>
              <a:gd name="connsiteY6" fmla="*/ 1208184 h 2419350"/>
              <a:gd name="connsiteX7" fmla="*/ 1923531 w 2419349"/>
              <a:gd name="connsiteY7" fmla="*/ 1703390 h 2419350"/>
              <a:gd name="connsiteX8" fmla="*/ 1875742 w 2419349"/>
              <a:gd name="connsiteY8" fmla="*/ 1443854 h 2419350"/>
              <a:gd name="connsiteX9" fmla="*/ 1481477 w 2419349"/>
              <a:gd name="connsiteY9" fmla="*/ 1479652 h 2419350"/>
              <a:gd name="connsiteX10" fmla="*/ 1442648 w 2419349"/>
              <a:gd name="connsiteY10" fmla="*/ 1876413 h 2419350"/>
              <a:gd name="connsiteX11" fmla="*/ 1705491 w 2419349"/>
              <a:gd name="connsiteY11" fmla="*/ 1924144 h 2419350"/>
              <a:gd name="connsiteX12" fmla="*/ 1209674 w 2419349"/>
              <a:gd name="connsiteY12" fmla="*/ 2419350 h 2419350"/>
              <a:gd name="connsiteX13" fmla="*/ 707883 w 2419349"/>
              <a:gd name="connsiteY13" fmla="*/ 1918178 h 2419350"/>
              <a:gd name="connsiteX14" fmla="*/ 663080 w 2419349"/>
              <a:gd name="connsiteY14" fmla="*/ 2189646 h 2419350"/>
              <a:gd name="connsiteX15" fmla="*/ 265829 w 2419349"/>
              <a:gd name="connsiteY15" fmla="*/ 2150865 h 2419350"/>
              <a:gd name="connsiteX16" fmla="*/ 229986 w 2419349"/>
              <a:gd name="connsiteY16" fmla="*/ 1757087 h 2419350"/>
              <a:gd name="connsiteX17" fmla="*/ 501790 w 2419349"/>
              <a:gd name="connsiteY17" fmla="*/ 1712339 h 2419350"/>
              <a:gd name="connsiteX18" fmla="*/ 88327 w 2419349"/>
              <a:gd name="connsiteY18" fmla="*/ 1296928 h 2419350"/>
              <a:gd name="connsiteX19" fmla="*/ 1487 w 2419349"/>
              <a:gd name="connsiteY19" fmla="*/ 1209679 h 2419350"/>
              <a:gd name="connsiteX20" fmla="*/ 1488 w 2419349"/>
              <a:gd name="connsiteY20" fmla="*/ 1209679 h 2419350"/>
              <a:gd name="connsiteX21" fmla="*/ 0 w 2419349"/>
              <a:gd name="connsiteY21" fmla="*/ 1208184 h 2419350"/>
              <a:gd name="connsiteX22" fmla="*/ 480883 w 2419349"/>
              <a:gd name="connsiteY22" fmla="*/ 727893 h 2419350"/>
              <a:gd name="connsiteX23" fmla="*/ 238948 w 2419349"/>
              <a:gd name="connsiteY23" fmla="*/ 674196 h 2419350"/>
              <a:gd name="connsiteX24" fmla="*/ 277777 w 2419349"/>
              <a:gd name="connsiteY24" fmla="*/ 277435 h 2419350"/>
              <a:gd name="connsiteX25" fmla="*/ 672041 w 2419349"/>
              <a:gd name="connsiteY25" fmla="*/ 241637 h 2419350"/>
              <a:gd name="connsiteX26" fmla="*/ 725805 w 2419349"/>
              <a:gd name="connsiteY26" fmla="*/ 483274 h 2419350"/>
              <a:gd name="connsiteX27" fmla="*/ 1124502 w 2419349"/>
              <a:gd name="connsiteY27" fmla="*/ 85068 h 2419350"/>
              <a:gd name="connsiteX28" fmla="*/ 1209627 w 2419349"/>
              <a:gd name="connsiteY28" fmla="*/ 50 h 2419350"/>
              <a:gd name="connsiteX29" fmla="*/ 1209626 w 2419349"/>
              <a:gd name="connsiteY29" fmla="*/ 49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19349" h="2419350">
                <a:moveTo>
                  <a:pt x="1209674" y="0"/>
                </a:moveTo>
                <a:cubicBezTo>
                  <a:pt x="1209674" y="0"/>
                  <a:pt x="1209674" y="0"/>
                  <a:pt x="1690557" y="483274"/>
                </a:cubicBezTo>
                <a:cubicBezTo>
                  <a:pt x="1666662" y="393778"/>
                  <a:pt x="1684583" y="301300"/>
                  <a:pt x="1747307" y="241637"/>
                </a:cubicBezTo>
                <a:cubicBezTo>
                  <a:pt x="1845873" y="140209"/>
                  <a:pt x="2022098" y="158108"/>
                  <a:pt x="2141572" y="277435"/>
                </a:cubicBezTo>
                <a:cubicBezTo>
                  <a:pt x="2261046" y="396762"/>
                  <a:pt x="2278967" y="575752"/>
                  <a:pt x="2180401" y="674196"/>
                </a:cubicBezTo>
                <a:cubicBezTo>
                  <a:pt x="2117677" y="733860"/>
                  <a:pt x="2028071" y="751759"/>
                  <a:pt x="1938466" y="727893"/>
                </a:cubicBezTo>
                <a:cubicBezTo>
                  <a:pt x="1938466" y="727893"/>
                  <a:pt x="1938466" y="727893"/>
                  <a:pt x="2419349" y="1208184"/>
                </a:cubicBezTo>
                <a:cubicBezTo>
                  <a:pt x="2419349" y="1208184"/>
                  <a:pt x="2419349" y="1208184"/>
                  <a:pt x="1923531" y="1703390"/>
                </a:cubicBezTo>
                <a:cubicBezTo>
                  <a:pt x="1956387" y="1610911"/>
                  <a:pt x="1941453" y="1509484"/>
                  <a:pt x="1875742" y="1443854"/>
                </a:cubicBezTo>
                <a:cubicBezTo>
                  <a:pt x="1777176" y="1345409"/>
                  <a:pt x="1600951" y="1360325"/>
                  <a:pt x="1481477" y="1479652"/>
                </a:cubicBezTo>
                <a:cubicBezTo>
                  <a:pt x="1362003" y="1598979"/>
                  <a:pt x="1344082" y="1777969"/>
                  <a:pt x="1442648" y="1876413"/>
                </a:cubicBezTo>
                <a:cubicBezTo>
                  <a:pt x="1508359" y="1942043"/>
                  <a:pt x="1609912" y="1956959"/>
                  <a:pt x="1705491" y="1924144"/>
                </a:cubicBezTo>
                <a:cubicBezTo>
                  <a:pt x="1705491" y="1924144"/>
                  <a:pt x="1705491" y="1924144"/>
                  <a:pt x="1209674" y="2419350"/>
                </a:cubicBezTo>
                <a:cubicBezTo>
                  <a:pt x="1209674" y="2419350"/>
                  <a:pt x="1209674" y="2419350"/>
                  <a:pt x="707883" y="1918178"/>
                </a:cubicBezTo>
                <a:cubicBezTo>
                  <a:pt x="743725" y="2016622"/>
                  <a:pt x="731777" y="2121033"/>
                  <a:pt x="663080" y="2189646"/>
                </a:cubicBezTo>
                <a:cubicBezTo>
                  <a:pt x="564514" y="2288091"/>
                  <a:pt x="385303" y="2270192"/>
                  <a:pt x="265829" y="2150865"/>
                </a:cubicBezTo>
                <a:cubicBezTo>
                  <a:pt x="146354" y="2031538"/>
                  <a:pt x="131420" y="1855531"/>
                  <a:pt x="229986" y="1757087"/>
                </a:cubicBezTo>
                <a:cubicBezTo>
                  <a:pt x="298684" y="1688474"/>
                  <a:pt x="403224" y="1673558"/>
                  <a:pt x="501790" y="1712339"/>
                </a:cubicBezTo>
                <a:cubicBezTo>
                  <a:pt x="501790" y="1712339"/>
                  <a:pt x="501790" y="1712339"/>
                  <a:pt x="88327" y="1296928"/>
                </a:cubicBezTo>
                <a:lnTo>
                  <a:pt x="1487" y="1209679"/>
                </a:lnTo>
                <a:lnTo>
                  <a:pt x="1488" y="1209679"/>
                </a:lnTo>
                <a:lnTo>
                  <a:pt x="0" y="1208184"/>
                </a:lnTo>
                <a:cubicBezTo>
                  <a:pt x="0" y="1208184"/>
                  <a:pt x="0" y="1208184"/>
                  <a:pt x="480883" y="727893"/>
                </a:cubicBezTo>
                <a:cubicBezTo>
                  <a:pt x="391277" y="751759"/>
                  <a:pt x="301672" y="733860"/>
                  <a:pt x="238948" y="674196"/>
                </a:cubicBezTo>
                <a:cubicBezTo>
                  <a:pt x="140382" y="575752"/>
                  <a:pt x="158303" y="396762"/>
                  <a:pt x="277777" y="277435"/>
                </a:cubicBezTo>
                <a:cubicBezTo>
                  <a:pt x="397251" y="158108"/>
                  <a:pt x="573475" y="143192"/>
                  <a:pt x="672041" y="241637"/>
                </a:cubicBezTo>
                <a:cubicBezTo>
                  <a:pt x="734765" y="301300"/>
                  <a:pt x="752686" y="393778"/>
                  <a:pt x="725805" y="483274"/>
                </a:cubicBezTo>
                <a:cubicBezTo>
                  <a:pt x="725805" y="483274"/>
                  <a:pt x="725805" y="483274"/>
                  <a:pt x="1124502" y="85068"/>
                </a:cubicBezTo>
                <a:lnTo>
                  <a:pt x="1209627" y="50"/>
                </a:lnTo>
                <a:lnTo>
                  <a:pt x="1209626" y="49"/>
                </a:lnTo>
                <a:close/>
              </a:path>
            </a:pathLst>
          </a:custGeom>
          <a:solidFill>
            <a:srgbClr val="006AF9">
              <a:alpha val="54000"/>
            </a:srgbClr>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8" name="Freeform 6">
            <a:extLst>
              <a:ext uri="{FF2B5EF4-FFF2-40B4-BE49-F238E27FC236}">
                <a16:creationId xmlns:a16="http://schemas.microsoft.com/office/drawing/2014/main" id="{A7BDEFF6-21C4-F864-43D8-E93A7A9E25AB}"/>
              </a:ext>
            </a:extLst>
          </p:cNvPr>
          <p:cNvSpPr>
            <a:spLocks/>
          </p:cNvSpPr>
          <p:nvPr/>
        </p:nvSpPr>
        <p:spPr bwMode="auto">
          <a:xfrm>
            <a:off x="3497980" y="121164"/>
            <a:ext cx="1630091" cy="1562135"/>
          </a:xfrm>
          <a:custGeom>
            <a:avLst/>
            <a:gdLst>
              <a:gd name="T0" fmla="*/ 730 w 811"/>
              <a:gd name="T1" fmla="*/ 585 h 810"/>
              <a:gd name="T2" fmla="*/ 649 w 811"/>
              <a:gd name="T3" fmla="*/ 567 h 810"/>
              <a:gd name="T4" fmla="*/ 811 w 811"/>
              <a:gd name="T5" fmla="*/ 405 h 810"/>
              <a:gd name="T6" fmla="*/ 645 w 811"/>
              <a:gd name="T7" fmla="*/ 239 h 810"/>
              <a:gd name="T8" fmla="*/ 629 w 811"/>
              <a:gd name="T9" fmla="*/ 327 h 810"/>
              <a:gd name="T10" fmla="*/ 496 w 811"/>
              <a:gd name="T11" fmla="*/ 314 h 810"/>
              <a:gd name="T12" fmla="*/ 484 w 811"/>
              <a:gd name="T13" fmla="*/ 182 h 810"/>
              <a:gd name="T14" fmla="*/ 571 w 811"/>
              <a:gd name="T15" fmla="*/ 166 h 810"/>
              <a:gd name="T16" fmla="*/ 405 w 811"/>
              <a:gd name="T17" fmla="*/ 0 h 810"/>
              <a:gd name="T18" fmla="*/ 244 w 811"/>
              <a:gd name="T19" fmla="*/ 161 h 810"/>
              <a:gd name="T20" fmla="*/ 325 w 811"/>
              <a:gd name="T21" fmla="*/ 179 h 810"/>
              <a:gd name="T22" fmla="*/ 312 w 811"/>
              <a:gd name="T23" fmla="*/ 312 h 810"/>
              <a:gd name="T24" fmla="*/ 180 w 811"/>
              <a:gd name="T25" fmla="*/ 325 h 810"/>
              <a:gd name="T26" fmla="*/ 162 w 811"/>
              <a:gd name="T27" fmla="*/ 243 h 810"/>
              <a:gd name="T28" fmla="*/ 0 w 811"/>
              <a:gd name="T29" fmla="*/ 405 h 810"/>
              <a:gd name="T30" fmla="*/ 405 w 811"/>
              <a:gd name="T31" fmla="*/ 810 h 810"/>
              <a:gd name="T32" fmla="*/ 567 w 811"/>
              <a:gd name="T33" fmla="*/ 649 h 810"/>
              <a:gd name="T34" fmla="*/ 585 w 811"/>
              <a:gd name="T35" fmla="*/ 730 h 810"/>
              <a:gd name="T36" fmla="*/ 718 w 811"/>
              <a:gd name="T37" fmla="*/ 718 h 810"/>
              <a:gd name="T38" fmla="*/ 730 w 811"/>
              <a:gd name="T39" fmla="*/ 585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1" h="810">
                <a:moveTo>
                  <a:pt x="730" y="585"/>
                </a:moveTo>
                <a:cubicBezTo>
                  <a:pt x="710" y="564"/>
                  <a:pt x="679" y="559"/>
                  <a:pt x="649" y="567"/>
                </a:cubicBezTo>
                <a:cubicBezTo>
                  <a:pt x="811" y="405"/>
                  <a:pt x="811" y="405"/>
                  <a:pt x="811" y="405"/>
                </a:cubicBezTo>
                <a:cubicBezTo>
                  <a:pt x="645" y="239"/>
                  <a:pt x="645" y="239"/>
                  <a:pt x="645" y="239"/>
                </a:cubicBezTo>
                <a:cubicBezTo>
                  <a:pt x="656" y="271"/>
                  <a:pt x="651" y="305"/>
                  <a:pt x="629" y="327"/>
                </a:cubicBezTo>
                <a:cubicBezTo>
                  <a:pt x="596" y="360"/>
                  <a:pt x="536" y="354"/>
                  <a:pt x="496" y="314"/>
                </a:cubicBezTo>
                <a:cubicBezTo>
                  <a:pt x="456" y="274"/>
                  <a:pt x="450" y="215"/>
                  <a:pt x="484" y="182"/>
                </a:cubicBezTo>
                <a:cubicBezTo>
                  <a:pt x="506" y="160"/>
                  <a:pt x="539" y="155"/>
                  <a:pt x="571" y="166"/>
                </a:cubicBezTo>
                <a:cubicBezTo>
                  <a:pt x="405" y="0"/>
                  <a:pt x="405" y="0"/>
                  <a:pt x="405" y="0"/>
                </a:cubicBezTo>
                <a:cubicBezTo>
                  <a:pt x="244" y="161"/>
                  <a:pt x="244" y="161"/>
                  <a:pt x="244" y="161"/>
                </a:cubicBezTo>
                <a:cubicBezTo>
                  <a:pt x="274" y="153"/>
                  <a:pt x="304" y="159"/>
                  <a:pt x="325" y="179"/>
                </a:cubicBezTo>
                <a:cubicBezTo>
                  <a:pt x="358" y="213"/>
                  <a:pt x="352" y="272"/>
                  <a:pt x="312" y="312"/>
                </a:cubicBezTo>
                <a:cubicBezTo>
                  <a:pt x="272" y="352"/>
                  <a:pt x="213" y="358"/>
                  <a:pt x="180" y="325"/>
                </a:cubicBezTo>
                <a:cubicBezTo>
                  <a:pt x="159" y="304"/>
                  <a:pt x="153" y="273"/>
                  <a:pt x="162" y="243"/>
                </a:cubicBezTo>
                <a:cubicBezTo>
                  <a:pt x="0" y="405"/>
                  <a:pt x="0" y="405"/>
                  <a:pt x="0" y="405"/>
                </a:cubicBezTo>
                <a:cubicBezTo>
                  <a:pt x="405" y="810"/>
                  <a:pt x="405" y="810"/>
                  <a:pt x="405" y="810"/>
                </a:cubicBezTo>
                <a:cubicBezTo>
                  <a:pt x="567" y="649"/>
                  <a:pt x="567" y="649"/>
                  <a:pt x="567" y="649"/>
                </a:cubicBezTo>
                <a:cubicBezTo>
                  <a:pt x="559" y="679"/>
                  <a:pt x="564" y="709"/>
                  <a:pt x="585" y="730"/>
                </a:cubicBezTo>
                <a:cubicBezTo>
                  <a:pt x="618" y="763"/>
                  <a:pt x="678" y="758"/>
                  <a:pt x="718" y="718"/>
                </a:cubicBezTo>
                <a:cubicBezTo>
                  <a:pt x="758" y="677"/>
                  <a:pt x="763" y="618"/>
                  <a:pt x="730" y="585"/>
                </a:cubicBezTo>
                <a:close/>
              </a:path>
            </a:pathLst>
          </a:custGeom>
          <a:solidFill>
            <a:srgbClr val="2DB060">
              <a:alpha val="54000"/>
            </a:srgbClr>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 name="Freeform: Shape 31">
            <a:extLst>
              <a:ext uri="{FF2B5EF4-FFF2-40B4-BE49-F238E27FC236}">
                <a16:creationId xmlns:a16="http://schemas.microsoft.com/office/drawing/2014/main" id="{018B37B8-D9D5-68CD-E5A5-D9B555E778EE}"/>
              </a:ext>
            </a:extLst>
          </p:cNvPr>
          <p:cNvSpPr>
            <a:spLocks/>
          </p:cNvSpPr>
          <p:nvPr/>
        </p:nvSpPr>
        <p:spPr bwMode="auto">
          <a:xfrm>
            <a:off x="1856845" y="76624"/>
            <a:ext cx="1445931" cy="1562134"/>
          </a:xfrm>
          <a:custGeom>
            <a:avLst/>
            <a:gdLst>
              <a:gd name="connsiteX0" fmla="*/ 1209675 w 2419350"/>
              <a:gd name="connsiteY0" fmla="*/ 0 h 2419350"/>
              <a:gd name="connsiteX1" fmla="*/ 1693545 w 2419350"/>
              <a:gd name="connsiteY1" fmla="*/ 483273 h 2419350"/>
              <a:gd name="connsiteX2" fmla="*/ 1747308 w 2419350"/>
              <a:gd name="connsiteY2" fmla="*/ 241637 h 2419350"/>
              <a:gd name="connsiteX3" fmla="*/ 2141573 w 2419350"/>
              <a:gd name="connsiteY3" fmla="*/ 277435 h 2419350"/>
              <a:gd name="connsiteX4" fmla="*/ 2180402 w 2419350"/>
              <a:gd name="connsiteY4" fmla="*/ 674196 h 2419350"/>
              <a:gd name="connsiteX5" fmla="*/ 1938467 w 2419350"/>
              <a:gd name="connsiteY5" fmla="*/ 727893 h 2419350"/>
              <a:gd name="connsiteX6" fmla="*/ 2419350 w 2419350"/>
              <a:gd name="connsiteY6" fmla="*/ 1211167 h 2419350"/>
              <a:gd name="connsiteX7" fmla="*/ 1938467 w 2419350"/>
              <a:gd name="connsiteY7" fmla="*/ 1691457 h 2419350"/>
              <a:gd name="connsiteX8" fmla="*/ 2180402 w 2419350"/>
              <a:gd name="connsiteY8" fmla="*/ 1745154 h 2419350"/>
              <a:gd name="connsiteX9" fmla="*/ 2141573 w 2419350"/>
              <a:gd name="connsiteY9" fmla="*/ 2141915 h 2419350"/>
              <a:gd name="connsiteX10" fmla="*/ 1747308 w 2419350"/>
              <a:gd name="connsiteY10" fmla="*/ 2180697 h 2419350"/>
              <a:gd name="connsiteX11" fmla="*/ 1693545 w 2419350"/>
              <a:gd name="connsiteY11" fmla="*/ 1939060 h 2419350"/>
              <a:gd name="connsiteX12" fmla="*/ 1209675 w 2419350"/>
              <a:gd name="connsiteY12" fmla="*/ 2419350 h 2419350"/>
              <a:gd name="connsiteX13" fmla="*/ 1202115 w 2419350"/>
              <a:gd name="connsiteY13" fmla="*/ 2411845 h 2419350"/>
              <a:gd name="connsiteX14" fmla="*/ 1193678 w 2419350"/>
              <a:gd name="connsiteY14" fmla="*/ 2403471 h 2419350"/>
              <a:gd name="connsiteX15" fmla="*/ 1184158 w 2419350"/>
              <a:gd name="connsiteY15" fmla="*/ 2394022 h 2419350"/>
              <a:gd name="connsiteX16" fmla="*/ 725805 w 2419350"/>
              <a:gd name="connsiteY16" fmla="*/ 1939060 h 2419350"/>
              <a:gd name="connsiteX17" fmla="*/ 672041 w 2419350"/>
              <a:gd name="connsiteY17" fmla="*/ 2180697 h 2419350"/>
              <a:gd name="connsiteX18" fmla="*/ 277777 w 2419350"/>
              <a:gd name="connsiteY18" fmla="*/ 2141915 h 2419350"/>
              <a:gd name="connsiteX19" fmla="*/ 238948 w 2419350"/>
              <a:gd name="connsiteY19" fmla="*/ 1745154 h 2419350"/>
              <a:gd name="connsiteX20" fmla="*/ 414099 w 2419350"/>
              <a:gd name="connsiteY20" fmla="*/ 1681389 h 2419350"/>
              <a:gd name="connsiteX21" fmla="*/ 480703 w 2419350"/>
              <a:gd name="connsiteY21" fmla="*/ 1691430 h 2419350"/>
              <a:gd name="connsiteX22" fmla="*/ 480883 w 2419350"/>
              <a:gd name="connsiteY22" fmla="*/ 1691457 h 2419350"/>
              <a:gd name="connsiteX23" fmla="*/ 0 w 2419350"/>
              <a:gd name="connsiteY23" fmla="*/ 1211167 h 2419350"/>
              <a:gd name="connsiteX24" fmla="*/ 1209675 w 2419350"/>
              <a:gd name="connsiteY24" fmla="*/ 0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19350" h="2419350">
                <a:moveTo>
                  <a:pt x="1209675" y="0"/>
                </a:moveTo>
                <a:cubicBezTo>
                  <a:pt x="1209675" y="0"/>
                  <a:pt x="1209675" y="0"/>
                  <a:pt x="1693545" y="483273"/>
                </a:cubicBezTo>
                <a:cubicBezTo>
                  <a:pt x="1666663" y="393778"/>
                  <a:pt x="1684584" y="304283"/>
                  <a:pt x="1747308" y="241637"/>
                </a:cubicBezTo>
                <a:cubicBezTo>
                  <a:pt x="1845874" y="143192"/>
                  <a:pt x="2022099" y="158108"/>
                  <a:pt x="2141573" y="277435"/>
                </a:cubicBezTo>
                <a:cubicBezTo>
                  <a:pt x="2261047" y="396762"/>
                  <a:pt x="2278968" y="575752"/>
                  <a:pt x="2180402" y="674196"/>
                </a:cubicBezTo>
                <a:cubicBezTo>
                  <a:pt x="2117678" y="736843"/>
                  <a:pt x="2028072" y="751759"/>
                  <a:pt x="1938467" y="727893"/>
                </a:cubicBezTo>
                <a:cubicBezTo>
                  <a:pt x="1938467" y="727893"/>
                  <a:pt x="1938467" y="727893"/>
                  <a:pt x="2419350" y="1211167"/>
                </a:cubicBezTo>
                <a:cubicBezTo>
                  <a:pt x="2419350" y="1211167"/>
                  <a:pt x="2419350" y="1211167"/>
                  <a:pt x="1938467" y="1691457"/>
                </a:cubicBezTo>
                <a:cubicBezTo>
                  <a:pt x="2028072" y="1667592"/>
                  <a:pt x="2117678" y="1685491"/>
                  <a:pt x="2180402" y="1745154"/>
                </a:cubicBezTo>
                <a:cubicBezTo>
                  <a:pt x="2278968" y="1846582"/>
                  <a:pt x="2261047" y="2022589"/>
                  <a:pt x="2141573" y="2141915"/>
                </a:cubicBezTo>
                <a:cubicBezTo>
                  <a:pt x="2022099" y="2261242"/>
                  <a:pt x="1845874" y="2279141"/>
                  <a:pt x="1747308" y="2180697"/>
                </a:cubicBezTo>
                <a:cubicBezTo>
                  <a:pt x="1684584" y="2118050"/>
                  <a:pt x="1666663" y="2025572"/>
                  <a:pt x="1693545" y="1939060"/>
                </a:cubicBezTo>
                <a:cubicBezTo>
                  <a:pt x="1693545" y="1939060"/>
                  <a:pt x="1693545" y="1939060"/>
                  <a:pt x="1209675" y="2419350"/>
                </a:cubicBezTo>
                <a:cubicBezTo>
                  <a:pt x="1209675" y="2419350"/>
                  <a:pt x="1209675" y="2419350"/>
                  <a:pt x="1202115" y="2411845"/>
                </a:cubicBezTo>
                <a:lnTo>
                  <a:pt x="1193678" y="2403471"/>
                </a:lnTo>
                <a:lnTo>
                  <a:pt x="1184158" y="2394022"/>
                </a:lnTo>
                <a:cubicBezTo>
                  <a:pt x="1141631" y="2351809"/>
                  <a:pt x="1028224" y="2239241"/>
                  <a:pt x="725805" y="1939060"/>
                </a:cubicBezTo>
                <a:cubicBezTo>
                  <a:pt x="752686" y="2025572"/>
                  <a:pt x="734765" y="2118050"/>
                  <a:pt x="672041" y="2180697"/>
                </a:cubicBezTo>
                <a:cubicBezTo>
                  <a:pt x="573475" y="2279141"/>
                  <a:pt x="397251" y="2261242"/>
                  <a:pt x="277777" y="2141915"/>
                </a:cubicBezTo>
                <a:cubicBezTo>
                  <a:pt x="158303" y="2022589"/>
                  <a:pt x="140382" y="1846582"/>
                  <a:pt x="238948" y="1745154"/>
                </a:cubicBezTo>
                <a:cubicBezTo>
                  <a:pt x="285991" y="1700407"/>
                  <a:pt x="348155" y="1679152"/>
                  <a:pt x="414099" y="1681389"/>
                </a:cubicBezTo>
                <a:lnTo>
                  <a:pt x="480703" y="1691430"/>
                </a:lnTo>
                <a:lnTo>
                  <a:pt x="480883" y="1691457"/>
                </a:lnTo>
                <a:cubicBezTo>
                  <a:pt x="480883" y="1691457"/>
                  <a:pt x="480883" y="1691457"/>
                  <a:pt x="0" y="1211167"/>
                </a:cubicBezTo>
                <a:cubicBezTo>
                  <a:pt x="0" y="1211167"/>
                  <a:pt x="0" y="1211167"/>
                  <a:pt x="1209675" y="0"/>
                </a:cubicBezTo>
                <a:close/>
              </a:path>
            </a:pathLst>
          </a:custGeom>
          <a:solidFill>
            <a:srgbClr val="FFCC34">
              <a:alpha val="54000"/>
            </a:srgbClr>
          </a:solidFill>
          <a:ln>
            <a:noFill/>
          </a:ln>
        </p:spPr>
        <p:txBody>
          <a:bodyPr vert="horz" wrap="square" lIns="68580" tIns="34290" rIns="68580" bIns="34290" numCol="1" anchor="t" anchorCtr="0" compatLnSpc="1">
            <a:prstTxWarp prst="textNoShape">
              <a:avLst/>
            </a:prstTxWarp>
            <a:noAutofit/>
          </a:bodyPr>
          <a:lstStyle/>
          <a:p>
            <a:endParaRPr lang="en-US" sz="1350"/>
          </a:p>
        </p:txBody>
      </p:sp>
      <p:sp>
        <p:nvSpPr>
          <p:cNvPr id="14" name="Freeform: Shape 33">
            <a:extLst>
              <a:ext uri="{FF2B5EF4-FFF2-40B4-BE49-F238E27FC236}">
                <a16:creationId xmlns:a16="http://schemas.microsoft.com/office/drawing/2014/main" id="{C7D2ABB8-F908-30AA-EFE7-C57B171F4A1A}"/>
              </a:ext>
            </a:extLst>
          </p:cNvPr>
          <p:cNvSpPr>
            <a:spLocks/>
          </p:cNvSpPr>
          <p:nvPr/>
        </p:nvSpPr>
        <p:spPr bwMode="auto">
          <a:xfrm>
            <a:off x="5256159" y="114600"/>
            <a:ext cx="1805188" cy="1774260"/>
          </a:xfrm>
          <a:custGeom>
            <a:avLst/>
            <a:gdLst>
              <a:gd name="connsiteX0" fmla="*/ 1212756 w 2422477"/>
              <a:gd name="connsiteY0" fmla="*/ 0 h 2419350"/>
              <a:gd name="connsiteX1" fmla="*/ 1693553 w 2422477"/>
              <a:gd name="connsiteY1" fmla="*/ 480167 h 2419350"/>
              <a:gd name="connsiteX2" fmla="*/ 1626949 w 2422477"/>
              <a:gd name="connsiteY2" fmla="*/ 470126 h 2419350"/>
              <a:gd name="connsiteX3" fmla="*/ 1451798 w 2422477"/>
              <a:gd name="connsiteY3" fmla="*/ 533891 h 2419350"/>
              <a:gd name="connsiteX4" fmla="*/ 1490627 w 2422477"/>
              <a:gd name="connsiteY4" fmla="*/ 930652 h 2419350"/>
              <a:gd name="connsiteX5" fmla="*/ 1884891 w 2422477"/>
              <a:gd name="connsiteY5" fmla="*/ 969434 h 2419350"/>
              <a:gd name="connsiteX6" fmla="*/ 1938655 w 2422477"/>
              <a:gd name="connsiteY6" fmla="*/ 727797 h 2419350"/>
              <a:gd name="connsiteX7" fmla="*/ 2397008 w 2422477"/>
              <a:gd name="connsiteY7" fmla="*/ 1182759 h 2419350"/>
              <a:gd name="connsiteX8" fmla="*/ 2406528 w 2422477"/>
              <a:gd name="connsiteY8" fmla="*/ 1192208 h 2419350"/>
              <a:gd name="connsiteX9" fmla="*/ 2422477 w 2422477"/>
              <a:gd name="connsiteY9" fmla="*/ 1208136 h 2419350"/>
              <a:gd name="connsiteX10" fmla="*/ 2337352 w 2422477"/>
              <a:gd name="connsiteY10" fmla="*/ 1293155 h 2419350"/>
              <a:gd name="connsiteX11" fmla="*/ 1938655 w 2422477"/>
              <a:gd name="connsiteY11" fmla="*/ 1691361 h 2419350"/>
              <a:gd name="connsiteX12" fmla="*/ 1884891 w 2422477"/>
              <a:gd name="connsiteY12" fmla="*/ 1449724 h 2419350"/>
              <a:gd name="connsiteX13" fmla="*/ 1490627 w 2422477"/>
              <a:gd name="connsiteY13" fmla="*/ 1485522 h 2419350"/>
              <a:gd name="connsiteX14" fmla="*/ 1451798 w 2422477"/>
              <a:gd name="connsiteY14" fmla="*/ 1882283 h 2419350"/>
              <a:gd name="connsiteX15" fmla="*/ 1693733 w 2422477"/>
              <a:gd name="connsiteY15" fmla="*/ 1935980 h 2419350"/>
              <a:gd name="connsiteX16" fmla="*/ 1212850 w 2422477"/>
              <a:gd name="connsiteY16" fmla="*/ 2416271 h 2419350"/>
              <a:gd name="connsiteX17" fmla="*/ 1214338 w 2422477"/>
              <a:gd name="connsiteY17" fmla="*/ 2417766 h 2419350"/>
              <a:gd name="connsiteX18" fmla="*/ 1212756 w 2422477"/>
              <a:gd name="connsiteY18" fmla="*/ 2419350 h 2419350"/>
              <a:gd name="connsiteX19" fmla="*/ 716900 w 2422477"/>
              <a:gd name="connsiteY19" fmla="*/ 1924144 h 2419350"/>
              <a:gd name="connsiteX20" fmla="*/ 976776 w 2422477"/>
              <a:gd name="connsiteY20" fmla="*/ 1876413 h 2419350"/>
              <a:gd name="connsiteX21" fmla="*/ 940931 w 2422477"/>
              <a:gd name="connsiteY21" fmla="*/ 1479652 h 2419350"/>
              <a:gd name="connsiteX22" fmla="*/ 543649 w 2422477"/>
              <a:gd name="connsiteY22" fmla="*/ 1440871 h 2419350"/>
              <a:gd name="connsiteX23" fmla="*/ 495856 w 2422477"/>
              <a:gd name="connsiteY23" fmla="*/ 1703390 h 2419350"/>
              <a:gd name="connsiteX24" fmla="*/ 0 w 2422477"/>
              <a:gd name="connsiteY24" fmla="*/ 1208184 h 2419350"/>
              <a:gd name="connsiteX25" fmla="*/ 480920 w 2422477"/>
              <a:gd name="connsiteY25" fmla="*/ 730877 h 2419350"/>
              <a:gd name="connsiteX26" fmla="*/ 238966 w 2422477"/>
              <a:gd name="connsiteY26" fmla="*/ 677180 h 2419350"/>
              <a:gd name="connsiteX27" fmla="*/ 274811 w 2422477"/>
              <a:gd name="connsiteY27" fmla="*/ 280418 h 2419350"/>
              <a:gd name="connsiteX28" fmla="*/ 672094 w 2422477"/>
              <a:gd name="connsiteY28" fmla="*/ 241637 h 2419350"/>
              <a:gd name="connsiteX29" fmla="*/ 725861 w 2422477"/>
              <a:gd name="connsiteY29" fmla="*/ 486257 h 2419350"/>
              <a:gd name="connsiteX30" fmla="*/ 1212756 w 2422477"/>
              <a:gd name="connsiteY30" fmla="*/ 0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22477" h="2419350">
                <a:moveTo>
                  <a:pt x="1212756" y="0"/>
                </a:moveTo>
                <a:lnTo>
                  <a:pt x="1693553" y="480167"/>
                </a:lnTo>
                <a:lnTo>
                  <a:pt x="1626949" y="470126"/>
                </a:lnTo>
                <a:cubicBezTo>
                  <a:pt x="1561005" y="467889"/>
                  <a:pt x="1498841" y="489144"/>
                  <a:pt x="1451798" y="533891"/>
                </a:cubicBezTo>
                <a:cubicBezTo>
                  <a:pt x="1353232" y="635319"/>
                  <a:pt x="1371153" y="811326"/>
                  <a:pt x="1490627" y="930652"/>
                </a:cubicBezTo>
                <a:cubicBezTo>
                  <a:pt x="1610101" y="1049979"/>
                  <a:pt x="1786325" y="1067878"/>
                  <a:pt x="1884891" y="969434"/>
                </a:cubicBezTo>
                <a:cubicBezTo>
                  <a:pt x="1947615" y="906787"/>
                  <a:pt x="1965536" y="814309"/>
                  <a:pt x="1938655" y="727797"/>
                </a:cubicBezTo>
                <a:cubicBezTo>
                  <a:pt x="2241074" y="1027978"/>
                  <a:pt x="2354481" y="1140546"/>
                  <a:pt x="2397008" y="1182759"/>
                </a:cubicBezTo>
                <a:lnTo>
                  <a:pt x="2406528" y="1192208"/>
                </a:lnTo>
                <a:lnTo>
                  <a:pt x="2422477" y="1208136"/>
                </a:lnTo>
                <a:lnTo>
                  <a:pt x="2337352" y="1293155"/>
                </a:lnTo>
                <a:cubicBezTo>
                  <a:pt x="1938655" y="1691361"/>
                  <a:pt x="1938655" y="1691361"/>
                  <a:pt x="1938655" y="1691361"/>
                </a:cubicBezTo>
                <a:cubicBezTo>
                  <a:pt x="1965536" y="1601865"/>
                  <a:pt x="1947615" y="1509387"/>
                  <a:pt x="1884891" y="1449724"/>
                </a:cubicBezTo>
                <a:cubicBezTo>
                  <a:pt x="1786325" y="1351279"/>
                  <a:pt x="1610101" y="1366195"/>
                  <a:pt x="1490627" y="1485522"/>
                </a:cubicBezTo>
                <a:cubicBezTo>
                  <a:pt x="1371153" y="1604849"/>
                  <a:pt x="1353232" y="1783839"/>
                  <a:pt x="1451798" y="1882283"/>
                </a:cubicBezTo>
                <a:cubicBezTo>
                  <a:pt x="1514522" y="1941947"/>
                  <a:pt x="1604127" y="1959846"/>
                  <a:pt x="1693733" y="1935980"/>
                </a:cubicBezTo>
                <a:cubicBezTo>
                  <a:pt x="1212850" y="2416271"/>
                  <a:pt x="1212850" y="2416271"/>
                  <a:pt x="1212850" y="2416271"/>
                </a:cubicBezTo>
                <a:lnTo>
                  <a:pt x="1214338" y="2417766"/>
                </a:lnTo>
                <a:lnTo>
                  <a:pt x="1212756" y="2419350"/>
                </a:lnTo>
                <a:cubicBezTo>
                  <a:pt x="1212756" y="2419350"/>
                  <a:pt x="1212756" y="2419350"/>
                  <a:pt x="716900" y="1924144"/>
                </a:cubicBezTo>
                <a:cubicBezTo>
                  <a:pt x="812487" y="1956959"/>
                  <a:pt x="911060" y="1942043"/>
                  <a:pt x="976776" y="1876413"/>
                </a:cubicBezTo>
                <a:cubicBezTo>
                  <a:pt x="1078337" y="1774986"/>
                  <a:pt x="1060415" y="1598979"/>
                  <a:pt x="940931" y="1479652"/>
                </a:cubicBezTo>
                <a:cubicBezTo>
                  <a:pt x="821448" y="1360325"/>
                  <a:pt x="642223" y="1342426"/>
                  <a:pt x="543649" y="1440871"/>
                </a:cubicBezTo>
                <a:cubicBezTo>
                  <a:pt x="477933" y="1509484"/>
                  <a:pt x="462998" y="1607928"/>
                  <a:pt x="495856" y="1703390"/>
                </a:cubicBezTo>
                <a:cubicBezTo>
                  <a:pt x="495856" y="1703390"/>
                  <a:pt x="495856" y="1703390"/>
                  <a:pt x="0" y="1208184"/>
                </a:cubicBezTo>
                <a:cubicBezTo>
                  <a:pt x="0" y="1208184"/>
                  <a:pt x="0" y="1208184"/>
                  <a:pt x="480920" y="730877"/>
                </a:cubicBezTo>
                <a:cubicBezTo>
                  <a:pt x="391308" y="754742"/>
                  <a:pt x="298708" y="736843"/>
                  <a:pt x="238966" y="677180"/>
                </a:cubicBezTo>
                <a:cubicBezTo>
                  <a:pt x="137406" y="575752"/>
                  <a:pt x="155328" y="399745"/>
                  <a:pt x="274811" y="280418"/>
                </a:cubicBezTo>
                <a:cubicBezTo>
                  <a:pt x="394295" y="161091"/>
                  <a:pt x="573520" y="143192"/>
                  <a:pt x="672094" y="241637"/>
                </a:cubicBezTo>
                <a:cubicBezTo>
                  <a:pt x="731835" y="304283"/>
                  <a:pt x="749758" y="396762"/>
                  <a:pt x="725861" y="486257"/>
                </a:cubicBezTo>
                <a:cubicBezTo>
                  <a:pt x="725861" y="486257"/>
                  <a:pt x="725861" y="486257"/>
                  <a:pt x="1212756" y="0"/>
                </a:cubicBezTo>
                <a:close/>
              </a:path>
            </a:pathLst>
          </a:custGeom>
          <a:solidFill>
            <a:srgbClr val="FF4300">
              <a:alpha val="54000"/>
            </a:srgbClr>
          </a:solidFill>
          <a:ln>
            <a:noFill/>
          </a:ln>
        </p:spPr>
        <p:txBody>
          <a:bodyPr vert="horz" wrap="square" lIns="68580" tIns="34290" rIns="68580" bIns="34290" numCol="1" anchor="t" anchorCtr="0" compatLnSpc="1">
            <a:prstTxWarp prst="textNoShape">
              <a:avLst/>
            </a:prstTxWarp>
            <a:noAutofit/>
          </a:bodyPr>
          <a:lstStyle/>
          <a:p>
            <a:endParaRPr lang="en-US" sz="1350"/>
          </a:p>
        </p:txBody>
      </p:sp>
      <p:sp>
        <p:nvSpPr>
          <p:cNvPr id="15" name="Freeform: Shape 32">
            <a:extLst>
              <a:ext uri="{FF2B5EF4-FFF2-40B4-BE49-F238E27FC236}">
                <a16:creationId xmlns:a16="http://schemas.microsoft.com/office/drawing/2014/main" id="{3E65D8F2-222C-2707-B3A1-7790AE9A4DA4}"/>
              </a:ext>
            </a:extLst>
          </p:cNvPr>
          <p:cNvSpPr>
            <a:spLocks/>
          </p:cNvSpPr>
          <p:nvPr/>
        </p:nvSpPr>
        <p:spPr bwMode="auto">
          <a:xfrm rot="333806">
            <a:off x="5496809" y="5366143"/>
            <a:ext cx="1499147" cy="1423500"/>
          </a:xfrm>
          <a:custGeom>
            <a:avLst/>
            <a:gdLst>
              <a:gd name="connsiteX0" fmla="*/ 1209674 w 2419349"/>
              <a:gd name="connsiteY0" fmla="*/ 0 h 2419350"/>
              <a:gd name="connsiteX1" fmla="*/ 1690557 w 2419349"/>
              <a:gd name="connsiteY1" fmla="*/ 483274 h 2419350"/>
              <a:gd name="connsiteX2" fmla="*/ 1747307 w 2419349"/>
              <a:gd name="connsiteY2" fmla="*/ 241637 h 2419350"/>
              <a:gd name="connsiteX3" fmla="*/ 2141572 w 2419349"/>
              <a:gd name="connsiteY3" fmla="*/ 277435 h 2419350"/>
              <a:gd name="connsiteX4" fmla="*/ 2180401 w 2419349"/>
              <a:gd name="connsiteY4" fmla="*/ 674196 h 2419350"/>
              <a:gd name="connsiteX5" fmla="*/ 1938466 w 2419349"/>
              <a:gd name="connsiteY5" fmla="*/ 727893 h 2419350"/>
              <a:gd name="connsiteX6" fmla="*/ 2419349 w 2419349"/>
              <a:gd name="connsiteY6" fmla="*/ 1208184 h 2419350"/>
              <a:gd name="connsiteX7" fmla="*/ 1923531 w 2419349"/>
              <a:gd name="connsiteY7" fmla="*/ 1703390 h 2419350"/>
              <a:gd name="connsiteX8" fmla="*/ 1875742 w 2419349"/>
              <a:gd name="connsiteY8" fmla="*/ 1443854 h 2419350"/>
              <a:gd name="connsiteX9" fmla="*/ 1481477 w 2419349"/>
              <a:gd name="connsiteY9" fmla="*/ 1479652 h 2419350"/>
              <a:gd name="connsiteX10" fmla="*/ 1442648 w 2419349"/>
              <a:gd name="connsiteY10" fmla="*/ 1876413 h 2419350"/>
              <a:gd name="connsiteX11" fmla="*/ 1705491 w 2419349"/>
              <a:gd name="connsiteY11" fmla="*/ 1924144 h 2419350"/>
              <a:gd name="connsiteX12" fmla="*/ 1209674 w 2419349"/>
              <a:gd name="connsiteY12" fmla="*/ 2419350 h 2419350"/>
              <a:gd name="connsiteX13" fmla="*/ 707883 w 2419349"/>
              <a:gd name="connsiteY13" fmla="*/ 1918178 h 2419350"/>
              <a:gd name="connsiteX14" fmla="*/ 663080 w 2419349"/>
              <a:gd name="connsiteY14" fmla="*/ 2189646 h 2419350"/>
              <a:gd name="connsiteX15" fmla="*/ 265829 w 2419349"/>
              <a:gd name="connsiteY15" fmla="*/ 2150865 h 2419350"/>
              <a:gd name="connsiteX16" fmla="*/ 229986 w 2419349"/>
              <a:gd name="connsiteY16" fmla="*/ 1757087 h 2419350"/>
              <a:gd name="connsiteX17" fmla="*/ 501790 w 2419349"/>
              <a:gd name="connsiteY17" fmla="*/ 1712339 h 2419350"/>
              <a:gd name="connsiteX18" fmla="*/ 88327 w 2419349"/>
              <a:gd name="connsiteY18" fmla="*/ 1296928 h 2419350"/>
              <a:gd name="connsiteX19" fmla="*/ 1487 w 2419349"/>
              <a:gd name="connsiteY19" fmla="*/ 1209679 h 2419350"/>
              <a:gd name="connsiteX20" fmla="*/ 1488 w 2419349"/>
              <a:gd name="connsiteY20" fmla="*/ 1209679 h 2419350"/>
              <a:gd name="connsiteX21" fmla="*/ 0 w 2419349"/>
              <a:gd name="connsiteY21" fmla="*/ 1208184 h 2419350"/>
              <a:gd name="connsiteX22" fmla="*/ 480883 w 2419349"/>
              <a:gd name="connsiteY22" fmla="*/ 727893 h 2419350"/>
              <a:gd name="connsiteX23" fmla="*/ 238948 w 2419349"/>
              <a:gd name="connsiteY23" fmla="*/ 674196 h 2419350"/>
              <a:gd name="connsiteX24" fmla="*/ 277777 w 2419349"/>
              <a:gd name="connsiteY24" fmla="*/ 277435 h 2419350"/>
              <a:gd name="connsiteX25" fmla="*/ 672041 w 2419349"/>
              <a:gd name="connsiteY25" fmla="*/ 241637 h 2419350"/>
              <a:gd name="connsiteX26" fmla="*/ 725805 w 2419349"/>
              <a:gd name="connsiteY26" fmla="*/ 483274 h 2419350"/>
              <a:gd name="connsiteX27" fmla="*/ 1124502 w 2419349"/>
              <a:gd name="connsiteY27" fmla="*/ 85068 h 2419350"/>
              <a:gd name="connsiteX28" fmla="*/ 1209627 w 2419349"/>
              <a:gd name="connsiteY28" fmla="*/ 50 h 2419350"/>
              <a:gd name="connsiteX29" fmla="*/ 1209626 w 2419349"/>
              <a:gd name="connsiteY29" fmla="*/ 49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19349" h="2419350">
                <a:moveTo>
                  <a:pt x="1209674" y="0"/>
                </a:moveTo>
                <a:cubicBezTo>
                  <a:pt x="1209674" y="0"/>
                  <a:pt x="1209674" y="0"/>
                  <a:pt x="1690557" y="483274"/>
                </a:cubicBezTo>
                <a:cubicBezTo>
                  <a:pt x="1666662" y="393778"/>
                  <a:pt x="1684583" y="301300"/>
                  <a:pt x="1747307" y="241637"/>
                </a:cubicBezTo>
                <a:cubicBezTo>
                  <a:pt x="1845873" y="140209"/>
                  <a:pt x="2022098" y="158108"/>
                  <a:pt x="2141572" y="277435"/>
                </a:cubicBezTo>
                <a:cubicBezTo>
                  <a:pt x="2261046" y="396762"/>
                  <a:pt x="2278967" y="575752"/>
                  <a:pt x="2180401" y="674196"/>
                </a:cubicBezTo>
                <a:cubicBezTo>
                  <a:pt x="2117677" y="733860"/>
                  <a:pt x="2028071" y="751759"/>
                  <a:pt x="1938466" y="727893"/>
                </a:cubicBezTo>
                <a:cubicBezTo>
                  <a:pt x="1938466" y="727893"/>
                  <a:pt x="1938466" y="727893"/>
                  <a:pt x="2419349" y="1208184"/>
                </a:cubicBezTo>
                <a:cubicBezTo>
                  <a:pt x="2419349" y="1208184"/>
                  <a:pt x="2419349" y="1208184"/>
                  <a:pt x="1923531" y="1703390"/>
                </a:cubicBezTo>
                <a:cubicBezTo>
                  <a:pt x="1956387" y="1610911"/>
                  <a:pt x="1941453" y="1509484"/>
                  <a:pt x="1875742" y="1443854"/>
                </a:cubicBezTo>
                <a:cubicBezTo>
                  <a:pt x="1777176" y="1345409"/>
                  <a:pt x="1600951" y="1360325"/>
                  <a:pt x="1481477" y="1479652"/>
                </a:cubicBezTo>
                <a:cubicBezTo>
                  <a:pt x="1362003" y="1598979"/>
                  <a:pt x="1344082" y="1777969"/>
                  <a:pt x="1442648" y="1876413"/>
                </a:cubicBezTo>
                <a:cubicBezTo>
                  <a:pt x="1508359" y="1942043"/>
                  <a:pt x="1609912" y="1956959"/>
                  <a:pt x="1705491" y="1924144"/>
                </a:cubicBezTo>
                <a:cubicBezTo>
                  <a:pt x="1705491" y="1924144"/>
                  <a:pt x="1705491" y="1924144"/>
                  <a:pt x="1209674" y="2419350"/>
                </a:cubicBezTo>
                <a:cubicBezTo>
                  <a:pt x="1209674" y="2419350"/>
                  <a:pt x="1209674" y="2419350"/>
                  <a:pt x="707883" y="1918178"/>
                </a:cubicBezTo>
                <a:cubicBezTo>
                  <a:pt x="743725" y="2016622"/>
                  <a:pt x="731777" y="2121033"/>
                  <a:pt x="663080" y="2189646"/>
                </a:cubicBezTo>
                <a:cubicBezTo>
                  <a:pt x="564514" y="2288091"/>
                  <a:pt x="385303" y="2270192"/>
                  <a:pt x="265829" y="2150865"/>
                </a:cubicBezTo>
                <a:cubicBezTo>
                  <a:pt x="146354" y="2031538"/>
                  <a:pt x="131420" y="1855531"/>
                  <a:pt x="229986" y="1757087"/>
                </a:cubicBezTo>
                <a:cubicBezTo>
                  <a:pt x="298684" y="1688474"/>
                  <a:pt x="403224" y="1673558"/>
                  <a:pt x="501790" y="1712339"/>
                </a:cubicBezTo>
                <a:cubicBezTo>
                  <a:pt x="501790" y="1712339"/>
                  <a:pt x="501790" y="1712339"/>
                  <a:pt x="88327" y="1296928"/>
                </a:cubicBezTo>
                <a:lnTo>
                  <a:pt x="1487" y="1209679"/>
                </a:lnTo>
                <a:lnTo>
                  <a:pt x="1488" y="1209679"/>
                </a:lnTo>
                <a:lnTo>
                  <a:pt x="0" y="1208184"/>
                </a:lnTo>
                <a:cubicBezTo>
                  <a:pt x="0" y="1208184"/>
                  <a:pt x="0" y="1208184"/>
                  <a:pt x="480883" y="727893"/>
                </a:cubicBezTo>
                <a:cubicBezTo>
                  <a:pt x="391277" y="751759"/>
                  <a:pt x="301672" y="733860"/>
                  <a:pt x="238948" y="674196"/>
                </a:cubicBezTo>
                <a:cubicBezTo>
                  <a:pt x="140382" y="575752"/>
                  <a:pt x="158303" y="396762"/>
                  <a:pt x="277777" y="277435"/>
                </a:cubicBezTo>
                <a:cubicBezTo>
                  <a:pt x="397251" y="158108"/>
                  <a:pt x="573475" y="143192"/>
                  <a:pt x="672041" y="241637"/>
                </a:cubicBezTo>
                <a:cubicBezTo>
                  <a:pt x="734765" y="301300"/>
                  <a:pt x="752686" y="393778"/>
                  <a:pt x="725805" y="483274"/>
                </a:cubicBezTo>
                <a:cubicBezTo>
                  <a:pt x="725805" y="483274"/>
                  <a:pt x="725805" y="483274"/>
                  <a:pt x="1124502" y="85068"/>
                </a:cubicBezTo>
                <a:lnTo>
                  <a:pt x="1209627" y="50"/>
                </a:lnTo>
                <a:lnTo>
                  <a:pt x="1209626" y="49"/>
                </a:lnTo>
                <a:close/>
              </a:path>
            </a:pathLst>
          </a:custGeom>
          <a:solidFill>
            <a:srgbClr val="006AF9">
              <a:alpha val="54000"/>
            </a:srgbClr>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16" name="Freeform: Shape 31">
            <a:extLst>
              <a:ext uri="{FF2B5EF4-FFF2-40B4-BE49-F238E27FC236}">
                <a16:creationId xmlns:a16="http://schemas.microsoft.com/office/drawing/2014/main" id="{35041FB6-5F79-0564-BD97-C0BF2301D85A}"/>
              </a:ext>
            </a:extLst>
          </p:cNvPr>
          <p:cNvSpPr>
            <a:spLocks/>
          </p:cNvSpPr>
          <p:nvPr/>
        </p:nvSpPr>
        <p:spPr bwMode="auto">
          <a:xfrm>
            <a:off x="3857399" y="5235103"/>
            <a:ext cx="1445931" cy="1562134"/>
          </a:xfrm>
          <a:custGeom>
            <a:avLst/>
            <a:gdLst>
              <a:gd name="connsiteX0" fmla="*/ 1209675 w 2419350"/>
              <a:gd name="connsiteY0" fmla="*/ 0 h 2419350"/>
              <a:gd name="connsiteX1" fmla="*/ 1693545 w 2419350"/>
              <a:gd name="connsiteY1" fmla="*/ 483273 h 2419350"/>
              <a:gd name="connsiteX2" fmla="*/ 1747308 w 2419350"/>
              <a:gd name="connsiteY2" fmla="*/ 241637 h 2419350"/>
              <a:gd name="connsiteX3" fmla="*/ 2141573 w 2419350"/>
              <a:gd name="connsiteY3" fmla="*/ 277435 h 2419350"/>
              <a:gd name="connsiteX4" fmla="*/ 2180402 w 2419350"/>
              <a:gd name="connsiteY4" fmla="*/ 674196 h 2419350"/>
              <a:gd name="connsiteX5" fmla="*/ 1938467 w 2419350"/>
              <a:gd name="connsiteY5" fmla="*/ 727893 h 2419350"/>
              <a:gd name="connsiteX6" fmla="*/ 2419350 w 2419350"/>
              <a:gd name="connsiteY6" fmla="*/ 1211167 h 2419350"/>
              <a:gd name="connsiteX7" fmla="*/ 1938467 w 2419350"/>
              <a:gd name="connsiteY7" fmla="*/ 1691457 h 2419350"/>
              <a:gd name="connsiteX8" fmla="*/ 2180402 w 2419350"/>
              <a:gd name="connsiteY8" fmla="*/ 1745154 h 2419350"/>
              <a:gd name="connsiteX9" fmla="*/ 2141573 w 2419350"/>
              <a:gd name="connsiteY9" fmla="*/ 2141915 h 2419350"/>
              <a:gd name="connsiteX10" fmla="*/ 1747308 w 2419350"/>
              <a:gd name="connsiteY10" fmla="*/ 2180697 h 2419350"/>
              <a:gd name="connsiteX11" fmla="*/ 1693545 w 2419350"/>
              <a:gd name="connsiteY11" fmla="*/ 1939060 h 2419350"/>
              <a:gd name="connsiteX12" fmla="*/ 1209675 w 2419350"/>
              <a:gd name="connsiteY12" fmla="*/ 2419350 h 2419350"/>
              <a:gd name="connsiteX13" fmla="*/ 1202115 w 2419350"/>
              <a:gd name="connsiteY13" fmla="*/ 2411845 h 2419350"/>
              <a:gd name="connsiteX14" fmla="*/ 1193678 w 2419350"/>
              <a:gd name="connsiteY14" fmla="*/ 2403471 h 2419350"/>
              <a:gd name="connsiteX15" fmla="*/ 1184158 w 2419350"/>
              <a:gd name="connsiteY15" fmla="*/ 2394022 h 2419350"/>
              <a:gd name="connsiteX16" fmla="*/ 725805 w 2419350"/>
              <a:gd name="connsiteY16" fmla="*/ 1939060 h 2419350"/>
              <a:gd name="connsiteX17" fmla="*/ 672041 w 2419350"/>
              <a:gd name="connsiteY17" fmla="*/ 2180697 h 2419350"/>
              <a:gd name="connsiteX18" fmla="*/ 277777 w 2419350"/>
              <a:gd name="connsiteY18" fmla="*/ 2141915 h 2419350"/>
              <a:gd name="connsiteX19" fmla="*/ 238948 w 2419350"/>
              <a:gd name="connsiteY19" fmla="*/ 1745154 h 2419350"/>
              <a:gd name="connsiteX20" fmla="*/ 414099 w 2419350"/>
              <a:gd name="connsiteY20" fmla="*/ 1681389 h 2419350"/>
              <a:gd name="connsiteX21" fmla="*/ 480703 w 2419350"/>
              <a:gd name="connsiteY21" fmla="*/ 1691430 h 2419350"/>
              <a:gd name="connsiteX22" fmla="*/ 480883 w 2419350"/>
              <a:gd name="connsiteY22" fmla="*/ 1691457 h 2419350"/>
              <a:gd name="connsiteX23" fmla="*/ 0 w 2419350"/>
              <a:gd name="connsiteY23" fmla="*/ 1211167 h 2419350"/>
              <a:gd name="connsiteX24" fmla="*/ 1209675 w 2419350"/>
              <a:gd name="connsiteY24" fmla="*/ 0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19350" h="2419350">
                <a:moveTo>
                  <a:pt x="1209675" y="0"/>
                </a:moveTo>
                <a:cubicBezTo>
                  <a:pt x="1209675" y="0"/>
                  <a:pt x="1209675" y="0"/>
                  <a:pt x="1693545" y="483273"/>
                </a:cubicBezTo>
                <a:cubicBezTo>
                  <a:pt x="1666663" y="393778"/>
                  <a:pt x="1684584" y="304283"/>
                  <a:pt x="1747308" y="241637"/>
                </a:cubicBezTo>
                <a:cubicBezTo>
                  <a:pt x="1845874" y="143192"/>
                  <a:pt x="2022099" y="158108"/>
                  <a:pt x="2141573" y="277435"/>
                </a:cubicBezTo>
                <a:cubicBezTo>
                  <a:pt x="2261047" y="396762"/>
                  <a:pt x="2278968" y="575752"/>
                  <a:pt x="2180402" y="674196"/>
                </a:cubicBezTo>
                <a:cubicBezTo>
                  <a:pt x="2117678" y="736843"/>
                  <a:pt x="2028072" y="751759"/>
                  <a:pt x="1938467" y="727893"/>
                </a:cubicBezTo>
                <a:cubicBezTo>
                  <a:pt x="1938467" y="727893"/>
                  <a:pt x="1938467" y="727893"/>
                  <a:pt x="2419350" y="1211167"/>
                </a:cubicBezTo>
                <a:cubicBezTo>
                  <a:pt x="2419350" y="1211167"/>
                  <a:pt x="2419350" y="1211167"/>
                  <a:pt x="1938467" y="1691457"/>
                </a:cubicBezTo>
                <a:cubicBezTo>
                  <a:pt x="2028072" y="1667592"/>
                  <a:pt x="2117678" y="1685491"/>
                  <a:pt x="2180402" y="1745154"/>
                </a:cubicBezTo>
                <a:cubicBezTo>
                  <a:pt x="2278968" y="1846582"/>
                  <a:pt x="2261047" y="2022589"/>
                  <a:pt x="2141573" y="2141915"/>
                </a:cubicBezTo>
                <a:cubicBezTo>
                  <a:pt x="2022099" y="2261242"/>
                  <a:pt x="1845874" y="2279141"/>
                  <a:pt x="1747308" y="2180697"/>
                </a:cubicBezTo>
                <a:cubicBezTo>
                  <a:pt x="1684584" y="2118050"/>
                  <a:pt x="1666663" y="2025572"/>
                  <a:pt x="1693545" y="1939060"/>
                </a:cubicBezTo>
                <a:cubicBezTo>
                  <a:pt x="1693545" y="1939060"/>
                  <a:pt x="1693545" y="1939060"/>
                  <a:pt x="1209675" y="2419350"/>
                </a:cubicBezTo>
                <a:cubicBezTo>
                  <a:pt x="1209675" y="2419350"/>
                  <a:pt x="1209675" y="2419350"/>
                  <a:pt x="1202115" y="2411845"/>
                </a:cubicBezTo>
                <a:lnTo>
                  <a:pt x="1193678" y="2403471"/>
                </a:lnTo>
                <a:lnTo>
                  <a:pt x="1184158" y="2394022"/>
                </a:lnTo>
                <a:cubicBezTo>
                  <a:pt x="1141631" y="2351809"/>
                  <a:pt x="1028224" y="2239241"/>
                  <a:pt x="725805" y="1939060"/>
                </a:cubicBezTo>
                <a:cubicBezTo>
                  <a:pt x="752686" y="2025572"/>
                  <a:pt x="734765" y="2118050"/>
                  <a:pt x="672041" y="2180697"/>
                </a:cubicBezTo>
                <a:cubicBezTo>
                  <a:pt x="573475" y="2279141"/>
                  <a:pt x="397251" y="2261242"/>
                  <a:pt x="277777" y="2141915"/>
                </a:cubicBezTo>
                <a:cubicBezTo>
                  <a:pt x="158303" y="2022589"/>
                  <a:pt x="140382" y="1846582"/>
                  <a:pt x="238948" y="1745154"/>
                </a:cubicBezTo>
                <a:cubicBezTo>
                  <a:pt x="285991" y="1700407"/>
                  <a:pt x="348155" y="1679152"/>
                  <a:pt x="414099" y="1681389"/>
                </a:cubicBezTo>
                <a:lnTo>
                  <a:pt x="480703" y="1691430"/>
                </a:lnTo>
                <a:lnTo>
                  <a:pt x="480883" y="1691457"/>
                </a:lnTo>
                <a:cubicBezTo>
                  <a:pt x="480883" y="1691457"/>
                  <a:pt x="480883" y="1691457"/>
                  <a:pt x="0" y="1211167"/>
                </a:cubicBezTo>
                <a:cubicBezTo>
                  <a:pt x="0" y="1211167"/>
                  <a:pt x="0" y="1211167"/>
                  <a:pt x="1209675" y="0"/>
                </a:cubicBezTo>
                <a:close/>
              </a:path>
            </a:pathLst>
          </a:custGeom>
          <a:solidFill>
            <a:srgbClr val="FFCC34">
              <a:alpha val="54000"/>
            </a:srgbClr>
          </a:solidFill>
          <a:ln>
            <a:noFill/>
          </a:ln>
        </p:spPr>
        <p:txBody>
          <a:bodyPr vert="horz" wrap="square" lIns="68580" tIns="34290" rIns="68580" bIns="34290" numCol="1" anchor="t" anchorCtr="0" compatLnSpc="1">
            <a:prstTxWarp prst="textNoShape">
              <a:avLst/>
            </a:prstTxWarp>
            <a:noAutofit/>
          </a:bodyPr>
          <a:lstStyle/>
          <a:p>
            <a:endParaRPr lang="en-US" sz="1350"/>
          </a:p>
        </p:txBody>
      </p:sp>
      <p:sp>
        <p:nvSpPr>
          <p:cNvPr id="17" name="Freeform 6">
            <a:extLst>
              <a:ext uri="{FF2B5EF4-FFF2-40B4-BE49-F238E27FC236}">
                <a16:creationId xmlns:a16="http://schemas.microsoft.com/office/drawing/2014/main" id="{9F5B3E72-4547-5BE1-816A-D07253CFF904}"/>
              </a:ext>
            </a:extLst>
          </p:cNvPr>
          <p:cNvSpPr>
            <a:spLocks/>
          </p:cNvSpPr>
          <p:nvPr/>
        </p:nvSpPr>
        <p:spPr bwMode="auto">
          <a:xfrm>
            <a:off x="1973681" y="5195501"/>
            <a:ext cx="1630091" cy="1562135"/>
          </a:xfrm>
          <a:custGeom>
            <a:avLst/>
            <a:gdLst>
              <a:gd name="T0" fmla="*/ 730 w 811"/>
              <a:gd name="T1" fmla="*/ 585 h 810"/>
              <a:gd name="T2" fmla="*/ 649 w 811"/>
              <a:gd name="T3" fmla="*/ 567 h 810"/>
              <a:gd name="T4" fmla="*/ 811 w 811"/>
              <a:gd name="T5" fmla="*/ 405 h 810"/>
              <a:gd name="T6" fmla="*/ 645 w 811"/>
              <a:gd name="T7" fmla="*/ 239 h 810"/>
              <a:gd name="T8" fmla="*/ 629 w 811"/>
              <a:gd name="T9" fmla="*/ 327 h 810"/>
              <a:gd name="T10" fmla="*/ 496 w 811"/>
              <a:gd name="T11" fmla="*/ 314 h 810"/>
              <a:gd name="T12" fmla="*/ 484 w 811"/>
              <a:gd name="T13" fmla="*/ 182 h 810"/>
              <a:gd name="T14" fmla="*/ 571 w 811"/>
              <a:gd name="T15" fmla="*/ 166 h 810"/>
              <a:gd name="T16" fmla="*/ 405 w 811"/>
              <a:gd name="T17" fmla="*/ 0 h 810"/>
              <a:gd name="T18" fmla="*/ 244 w 811"/>
              <a:gd name="T19" fmla="*/ 161 h 810"/>
              <a:gd name="T20" fmla="*/ 325 w 811"/>
              <a:gd name="T21" fmla="*/ 179 h 810"/>
              <a:gd name="T22" fmla="*/ 312 w 811"/>
              <a:gd name="T23" fmla="*/ 312 h 810"/>
              <a:gd name="T24" fmla="*/ 180 w 811"/>
              <a:gd name="T25" fmla="*/ 325 h 810"/>
              <a:gd name="T26" fmla="*/ 162 w 811"/>
              <a:gd name="T27" fmla="*/ 243 h 810"/>
              <a:gd name="T28" fmla="*/ 0 w 811"/>
              <a:gd name="T29" fmla="*/ 405 h 810"/>
              <a:gd name="T30" fmla="*/ 405 w 811"/>
              <a:gd name="T31" fmla="*/ 810 h 810"/>
              <a:gd name="T32" fmla="*/ 567 w 811"/>
              <a:gd name="T33" fmla="*/ 649 h 810"/>
              <a:gd name="T34" fmla="*/ 585 w 811"/>
              <a:gd name="T35" fmla="*/ 730 h 810"/>
              <a:gd name="T36" fmla="*/ 718 w 811"/>
              <a:gd name="T37" fmla="*/ 718 h 810"/>
              <a:gd name="T38" fmla="*/ 730 w 811"/>
              <a:gd name="T39" fmla="*/ 585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1" h="810">
                <a:moveTo>
                  <a:pt x="730" y="585"/>
                </a:moveTo>
                <a:cubicBezTo>
                  <a:pt x="710" y="564"/>
                  <a:pt x="679" y="559"/>
                  <a:pt x="649" y="567"/>
                </a:cubicBezTo>
                <a:cubicBezTo>
                  <a:pt x="811" y="405"/>
                  <a:pt x="811" y="405"/>
                  <a:pt x="811" y="405"/>
                </a:cubicBezTo>
                <a:cubicBezTo>
                  <a:pt x="645" y="239"/>
                  <a:pt x="645" y="239"/>
                  <a:pt x="645" y="239"/>
                </a:cubicBezTo>
                <a:cubicBezTo>
                  <a:pt x="656" y="271"/>
                  <a:pt x="651" y="305"/>
                  <a:pt x="629" y="327"/>
                </a:cubicBezTo>
                <a:cubicBezTo>
                  <a:pt x="596" y="360"/>
                  <a:pt x="536" y="354"/>
                  <a:pt x="496" y="314"/>
                </a:cubicBezTo>
                <a:cubicBezTo>
                  <a:pt x="456" y="274"/>
                  <a:pt x="450" y="215"/>
                  <a:pt x="484" y="182"/>
                </a:cubicBezTo>
                <a:cubicBezTo>
                  <a:pt x="506" y="160"/>
                  <a:pt x="539" y="155"/>
                  <a:pt x="571" y="166"/>
                </a:cubicBezTo>
                <a:cubicBezTo>
                  <a:pt x="405" y="0"/>
                  <a:pt x="405" y="0"/>
                  <a:pt x="405" y="0"/>
                </a:cubicBezTo>
                <a:cubicBezTo>
                  <a:pt x="244" y="161"/>
                  <a:pt x="244" y="161"/>
                  <a:pt x="244" y="161"/>
                </a:cubicBezTo>
                <a:cubicBezTo>
                  <a:pt x="274" y="153"/>
                  <a:pt x="304" y="159"/>
                  <a:pt x="325" y="179"/>
                </a:cubicBezTo>
                <a:cubicBezTo>
                  <a:pt x="358" y="213"/>
                  <a:pt x="352" y="272"/>
                  <a:pt x="312" y="312"/>
                </a:cubicBezTo>
                <a:cubicBezTo>
                  <a:pt x="272" y="352"/>
                  <a:pt x="213" y="358"/>
                  <a:pt x="180" y="325"/>
                </a:cubicBezTo>
                <a:cubicBezTo>
                  <a:pt x="159" y="304"/>
                  <a:pt x="153" y="273"/>
                  <a:pt x="162" y="243"/>
                </a:cubicBezTo>
                <a:cubicBezTo>
                  <a:pt x="0" y="405"/>
                  <a:pt x="0" y="405"/>
                  <a:pt x="0" y="405"/>
                </a:cubicBezTo>
                <a:cubicBezTo>
                  <a:pt x="405" y="810"/>
                  <a:pt x="405" y="810"/>
                  <a:pt x="405" y="810"/>
                </a:cubicBezTo>
                <a:cubicBezTo>
                  <a:pt x="567" y="649"/>
                  <a:pt x="567" y="649"/>
                  <a:pt x="567" y="649"/>
                </a:cubicBezTo>
                <a:cubicBezTo>
                  <a:pt x="559" y="679"/>
                  <a:pt x="564" y="709"/>
                  <a:pt x="585" y="730"/>
                </a:cubicBezTo>
                <a:cubicBezTo>
                  <a:pt x="618" y="763"/>
                  <a:pt x="678" y="758"/>
                  <a:pt x="718" y="718"/>
                </a:cubicBezTo>
                <a:cubicBezTo>
                  <a:pt x="758" y="677"/>
                  <a:pt x="763" y="618"/>
                  <a:pt x="730" y="585"/>
                </a:cubicBezTo>
                <a:close/>
              </a:path>
            </a:pathLst>
          </a:custGeom>
          <a:solidFill>
            <a:srgbClr val="2DB060">
              <a:alpha val="54000"/>
            </a:srgbClr>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8" name="Freeform: Shape 33">
            <a:extLst>
              <a:ext uri="{FF2B5EF4-FFF2-40B4-BE49-F238E27FC236}">
                <a16:creationId xmlns:a16="http://schemas.microsoft.com/office/drawing/2014/main" id="{8BCC0B8E-711F-0BD2-6149-ABF8DB154E1D}"/>
              </a:ext>
            </a:extLst>
          </p:cNvPr>
          <p:cNvSpPr>
            <a:spLocks/>
          </p:cNvSpPr>
          <p:nvPr/>
        </p:nvSpPr>
        <p:spPr bwMode="auto">
          <a:xfrm>
            <a:off x="51657" y="5089439"/>
            <a:ext cx="1805188" cy="1774260"/>
          </a:xfrm>
          <a:custGeom>
            <a:avLst/>
            <a:gdLst>
              <a:gd name="connsiteX0" fmla="*/ 1212756 w 2422477"/>
              <a:gd name="connsiteY0" fmla="*/ 0 h 2419350"/>
              <a:gd name="connsiteX1" fmla="*/ 1693553 w 2422477"/>
              <a:gd name="connsiteY1" fmla="*/ 480167 h 2419350"/>
              <a:gd name="connsiteX2" fmla="*/ 1626949 w 2422477"/>
              <a:gd name="connsiteY2" fmla="*/ 470126 h 2419350"/>
              <a:gd name="connsiteX3" fmla="*/ 1451798 w 2422477"/>
              <a:gd name="connsiteY3" fmla="*/ 533891 h 2419350"/>
              <a:gd name="connsiteX4" fmla="*/ 1490627 w 2422477"/>
              <a:gd name="connsiteY4" fmla="*/ 930652 h 2419350"/>
              <a:gd name="connsiteX5" fmla="*/ 1884891 w 2422477"/>
              <a:gd name="connsiteY5" fmla="*/ 969434 h 2419350"/>
              <a:gd name="connsiteX6" fmla="*/ 1938655 w 2422477"/>
              <a:gd name="connsiteY6" fmla="*/ 727797 h 2419350"/>
              <a:gd name="connsiteX7" fmla="*/ 2397008 w 2422477"/>
              <a:gd name="connsiteY7" fmla="*/ 1182759 h 2419350"/>
              <a:gd name="connsiteX8" fmla="*/ 2406528 w 2422477"/>
              <a:gd name="connsiteY8" fmla="*/ 1192208 h 2419350"/>
              <a:gd name="connsiteX9" fmla="*/ 2422477 w 2422477"/>
              <a:gd name="connsiteY9" fmla="*/ 1208136 h 2419350"/>
              <a:gd name="connsiteX10" fmla="*/ 2337352 w 2422477"/>
              <a:gd name="connsiteY10" fmla="*/ 1293155 h 2419350"/>
              <a:gd name="connsiteX11" fmla="*/ 1938655 w 2422477"/>
              <a:gd name="connsiteY11" fmla="*/ 1691361 h 2419350"/>
              <a:gd name="connsiteX12" fmla="*/ 1884891 w 2422477"/>
              <a:gd name="connsiteY12" fmla="*/ 1449724 h 2419350"/>
              <a:gd name="connsiteX13" fmla="*/ 1490627 w 2422477"/>
              <a:gd name="connsiteY13" fmla="*/ 1485522 h 2419350"/>
              <a:gd name="connsiteX14" fmla="*/ 1451798 w 2422477"/>
              <a:gd name="connsiteY14" fmla="*/ 1882283 h 2419350"/>
              <a:gd name="connsiteX15" fmla="*/ 1693733 w 2422477"/>
              <a:gd name="connsiteY15" fmla="*/ 1935980 h 2419350"/>
              <a:gd name="connsiteX16" fmla="*/ 1212850 w 2422477"/>
              <a:gd name="connsiteY16" fmla="*/ 2416271 h 2419350"/>
              <a:gd name="connsiteX17" fmla="*/ 1214338 w 2422477"/>
              <a:gd name="connsiteY17" fmla="*/ 2417766 h 2419350"/>
              <a:gd name="connsiteX18" fmla="*/ 1212756 w 2422477"/>
              <a:gd name="connsiteY18" fmla="*/ 2419350 h 2419350"/>
              <a:gd name="connsiteX19" fmla="*/ 716900 w 2422477"/>
              <a:gd name="connsiteY19" fmla="*/ 1924144 h 2419350"/>
              <a:gd name="connsiteX20" fmla="*/ 976776 w 2422477"/>
              <a:gd name="connsiteY20" fmla="*/ 1876413 h 2419350"/>
              <a:gd name="connsiteX21" fmla="*/ 940931 w 2422477"/>
              <a:gd name="connsiteY21" fmla="*/ 1479652 h 2419350"/>
              <a:gd name="connsiteX22" fmla="*/ 543649 w 2422477"/>
              <a:gd name="connsiteY22" fmla="*/ 1440871 h 2419350"/>
              <a:gd name="connsiteX23" fmla="*/ 495856 w 2422477"/>
              <a:gd name="connsiteY23" fmla="*/ 1703390 h 2419350"/>
              <a:gd name="connsiteX24" fmla="*/ 0 w 2422477"/>
              <a:gd name="connsiteY24" fmla="*/ 1208184 h 2419350"/>
              <a:gd name="connsiteX25" fmla="*/ 480920 w 2422477"/>
              <a:gd name="connsiteY25" fmla="*/ 730877 h 2419350"/>
              <a:gd name="connsiteX26" fmla="*/ 238966 w 2422477"/>
              <a:gd name="connsiteY26" fmla="*/ 677180 h 2419350"/>
              <a:gd name="connsiteX27" fmla="*/ 274811 w 2422477"/>
              <a:gd name="connsiteY27" fmla="*/ 280418 h 2419350"/>
              <a:gd name="connsiteX28" fmla="*/ 672094 w 2422477"/>
              <a:gd name="connsiteY28" fmla="*/ 241637 h 2419350"/>
              <a:gd name="connsiteX29" fmla="*/ 725861 w 2422477"/>
              <a:gd name="connsiteY29" fmla="*/ 486257 h 2419350"/>
              <a:gd name="connsiteX30" fmla="*/ 1212756 w 2422477"/>
              <a:gd name="connsiteY30" fmla="*/ 0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22477" h="2419350">
                <a:moveTo>
                  <a:pt x="1212756" y="0"/>
                </a:moveTo>
                <a:lnTo>
                  <a:pt x="1693553" y="480167"/>
                </a:lnTo>
                <a:lnTo>
                  <a:pt x="1626949" y="470126"/>
                </a:lnTo>
                <a:cubicBezTo>
                  <a:pt x="1561005" y="467889"/>
                  <a:pt x="1498841" y="489144"/>
                  <a:pt x="1451798" y="533891"/>
                </a:cubicBezTo>
                <a:cubicBezTo>
                  <a:pt x="1353232" y="635319"/>
                  <a:pt x="1371153" y="811326"/>
                  <a:pt x="1490627" y="930652"/>
                </a:cubicBezTo>
                <a:cubicBezTo>
                  <a:pt x="1610101" y="1049979"/>
                  <a:pt x="1786325" y="1067878"/>
                  <a:pt x="1884891" y="969434"/>
                </a:cubicBezTo>
                <a:cubicBezTo>
                  <a:pt x="1947615" y="906787"/>
                  <a:pt x="1965536" y="814309"/>
                  <a:pt x="1938655" y="727797"/>
                </a:cubicBezTo>
                <a:cubicBezTo>
                  <a:pt x="2241074" y="1027978"/>
                  <a:pt x="2354481" y="1140546"/>
                  <a:pt x="2397008" y="1182759"/>
                </a:cubicBezTo>
                <a:lnTo>
                  <a:pt x="2406528" y="1192208"/>
                </a:lnTo>
                <a:lnTo>
                  <a:pt x="2422477" y="1208136"/>
                </a:lnTo>
                <a:lnTo>
                  <a:pt x="2337352" y="1293155"/>
                </a:lnTo>
                <a:cubicBezTo>
                  <a:pt x="1938655" y="1691361"/>
                  <a:pt x="1938655" y="1691361"/>
                  <a:pt x="1938655" y="1691361"/>
                </a:cubicBezTo>
                <a:cubicBezTo>
                  <a:pt x="1965536" y="1601865"/>
                  <a:pt x="1947615" y="1509387"/>
                  <a:pt x="1884891" y="1449724"/>
                </a:cubicBezTo>
                <a:cubicBezTo>
                  <a:pt x="1786325" y="1351279"/>
                  <a:pt x="1610101" y="1366195"/>
                  <a:pt x="1490627" y="1485522"/>
                </a:cubicBezTo>
                <a:cubicBezTo>
                  <a:pt x="1371153" y="1604849"/>
                  <a:pt x="1353232" y="1783839"/>
                  <a:pt x="1451798" y="1882283"/>
                </a:cubicBezTo>
                <a:cubicBezTo>
                  <a:pt x="1514522" y="1941947"/>
                  <a:pt x="1604127" y="1959846"/>
                  <a:pt x="1693733" y="1935980"/>
                </a:cubicBezTo>
                <a:cubicBezTo>
                  <a:pt x="1212850" y="2416271"/>
                  <a:pt x="1212850" y="2416271"/>
                  <a:pt x="1212850" y="2416271"/>
                </a:cubicBezTo>
                <a:lnTo>
                  <a:pt x="1214338" y="2417766"/>
                </a:lnTo>
                <a:lnTo>
                  <a:pt x="1212756" y="2419350"/>
                </a:lnTo>
                <a:cubicBezTo>
                  <a:pt x="1212756" y="2419350"/>
                  <a:pt x="1212756" y="2419350"/>
                  <a:pt x="716900" y="1924144"/>
                </a:cubicBezTo>
                <a:cubicBezTo>
                  <a:pt x="812487" y="1956959"/>
                  <a:pt x="911060" y="1942043"/>
                  <a:pt x="976776" y="1876413"/>
                </a:cubicBezTo>
                <a:cubicBezTo>
                  <a:pt x="1078337" y="1774986"/>
                  <a:pt x="1060415" y="1598979"/>
                  <a:pt x="940931" y="1479652"/>
                </a:cubicBezTo>
                <a:cubicBezTo>
                  <a:pt x="821448" y="1360325"/>
                  <a:pt x="642223" y="1342426"/>
                  <a:pt x="543649" y="1440871"/>
                </a:cubicBezTo>
                <a:cubicBezTo>
                  <a:pt x="477933" y="1509484"/>
                  <a:pt x="462998" y="1607928"/>
                  <a:pt x="495856" y="1703390"/>
                </a:cubicBezTo>
                <a:cubicBezTo>
                  <a:pt x="495856" y="1703390"/>
                  <a:pt x="495856" y="1703390"/>
                  <a:pt x="0" y="1208184"/>
                </a:cubicBezTo>
                <a:cubicBezTo>
                  <a:pt x="0" y="1208184"/>
                  <a:pt x="0" y="1208184"/>
                  <a:pt x="480920" y="730877"/>
                </a:cubicBezTo>
                <a:cubicBezTo>
                  <a:pt x="391308" y="754742"/>
                  <a:pt x="298708" y="736843"/>
                  <a:pt x="238966" y="677180"/>
                </a:cubicBezTo>
                <a:cubicBezTo>
                  <a:pt x="137406" y="575752"/>
                  <a:pt x="155328" y="399745"/>
                  <a:pt x="274811" y="280418"/>
                </a:cubicBezTo>
                <a:cubicBezTo>
                  <a:pt x="394295" y="161091"/>
                  <a:pt x="573520" y="143192"/>
                  <a:pt x="672094" y="241637"/>
                </a:cubicBezTo>
                <a:cubicBezTo>
                  <a:pt x="731835" y="304283"/>
                  <a:pt x="749758" y="396762"/>
                  <a:pt x="725861" y="486257"/>
                </a:cubicBezTo>
                <a:cubicBezTo>
                  <a:pt x="725861" y="486257"/>
                  <a:pt x="725861" y="486257"/>
                  <a:pt x="1212756" y="0"/>
                </a:cubicBezTo>
                <a:close/>
              </a:path>
            </a:pathLst>
          </a:custGeom>
          <a:solidFill>
            <a:srgbClr val="FF4300">
              <a:alpha val="54000"/>
            </a:srgbClr>
          </a:solidFill>
          <a:ln>
            <a:noFill/>
          </a:ln>
        </p:spPr>
        <p:txBody>
          <a:bodyPr vert="horz" wrap="square" lIns="68580" tIns="34290" rIns="68580" bIns="34290" numCol="1" anchor="t" anchorCtr="0" compatLnSpc="1">
            <a:prstTxWarp prst="textNoShape">
              <a:avLst/>
            </a:prstTxWarp>
            <a:noAutofit/>
          </a:bodyPr>
          <a:lstStyle/>
          <a:p>
            <a:endParaRPr lang="en-US" sz="135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What Do the Numbers Say? The Math and Literacy Link – Literacy from the ...">
            <a:extLst>
              <a:ext uri="{FF2B5EF4-FFF2-40B4-BE49-F238E27FC236}">
                <a16:creationId xmlns:a16="http://schemas.microsoft.com/office/drawing/2014/main" id="{7A632DCE-D28A-CBAC-7AE8-951215282A04}"/>
              </a:ext>
            </a:extLst>
          </p:cNvPr>
          <p:cNvPicPr>
            <a:picLocks noChangeAspect="1"/>
          </p:cNvPicPr>
          <p:nvPr/>
        </p:nvPicPr>
        <p:blipFill>
          <a:blip r:embed="rId4"/>
          <a:srcRect l="24883" t="-34" r="22839" b="73"/>
          <a:stretch/>
        </p:blipFill>
        <p:spPr>
          <a:xfrm>
            <a:off x="-11260" y="-17544"/>
            <a:ext cx="5343424" cy="6883290"/>
          </a:xfrm>
          <a:prstGeom prst="rect">
            <a:avLst/>
          </a:prstGeom>
        </p:spPr>
      </p:pic>
      <p:graphicFrame>
        <p:nvGraphicFramePr>
          <p:cNvPr id="6" name="Object 5" hidden="1">
            <a:extLst>
              <a:ext uri="{FF2B5EF4-FFF2-40B4-BE49-F238E27FC236}">
                <a16:creationId xmlns:a16="http://schemas.microsoft.com/office/drawing/2014/main" id="{3648682C-BE06-4CD2-BF2F-77E9C8A75E3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3648682C-BE06-4CD2-BF2F-77E9C8A75E3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9B8DEF34-6559-49E4-8A3B-D4C5BE3B8F6C}"/>
              </a:ext>
            </a:extLst>
          </p:cNvPr>
          <p:cNvSpPr/>
          <p:nvPr/>
        </p:nvSpPr>
        <p:spPr>
          <a:xfrm>
            <a:off x="-11260" y="5632"/>
            <a:ext cx="5343423" cy="6858000"/>
          </a:xfrm>
          <a:prstGeom prst="rect">
            <a:avLst/>
          </a:prstGeom>
          <a:gradFill>
            <a:gsLst>
              <a:gs pos="0">
                <a:schemeClr val="accent1">
                  <a:lumMod val="5000"/>
                  <a:lumOff val="95000"/>
                  <a:alpha val="53000"/>
                </a:schemeClr>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2" name="Freeform: Shape 31">
            <a:extLst>
              <a:ext uri="{FF2B5EF4-FFF2-40B4-BE49-F238E27FC236}">
                <a16:creationId xmlns:a16="http://schemas.microsoft.com/office/drawing/2014/main" id="{60D23DB6-FB11-4C68-A480-1BE42480749F}"/>
              </a:ext>
            </a:extLst>
          </p:cNvPr>
          <p:cNvSpPr>
            <a:spLocks/>
          </p:cNvSpPr>
          <p:nvPr/>
        </p:nvSpPr>
        <p:spPr bwMode="auto">
          <a:xfrm>
            <a:off x="122095" y="9799"/>
            <a:ext cx="1814513" cy="1814513"/>
          </a:xfrm>
          <a:custGeom>
            <a:avLst/>
            <a:gdLst>
              <a:gd name="connsiteX0" fmla="*/ 1209675 w 2419350"/>
              <a:gd name="connsiteY0" fmla="*/ 0 h 2419350"/>
              <a:gd name="connsiteX1" fmla="*/ 1693545 w 2419350"/>
              <a:gd name="connsiteY1" fmla="*/ 483273 h 2419350"/>
              <a:gd name="connsiteX2" fmla="*/ 1747308 w 2419350"/>
              <a:gd name="connsiteY2" fmla="*/ 241637 h 2419350"/>
              <a:gd name="connsiteX3" fmla="*/ 2141573 w 2419350"/>
              <a:gd name="connsiteY3" fmla="*/ 277435 h 2419350"/>
              <a:gd name="connsiteX4" fmla="*/ 2180402 w 2419350"/>
              <a:gd name="connsiteY4" fmla="*/ 674196 h 2419350"/>
              <a:gd name="connsiteX5" fmla="*/ 1938467 w 2419350"/>
              <a:gd name="connsiteY5" fmla="*/ 727893 h 2419350"/>
              <a:gd name="connsiteX6" fmla="*/ 2419350 w 2419350"/>
              <a:gd name="connsiteY6" fmla="*/ 1211167 h 2419350"/>
              <a:gd name="connsiteX7" fmla="*/ 1938467 w 2419350"/>
              <a:gd name="connsiteY7" fmla="*/ 1691457 h 2419350"/>
              <a:gd name="connsiteX8" fmla="*/ 2180402 w 2419350"/>
              <a:gd name="connsiteY8" fmla="*/ 1745154 h 2419350"/>
              <a:gd name="connsiteX9" fmla="*/ 2141573 w 2419350"/>
              <a:gd name="connsiteY9" fmla="*/ 2141915 h 2419350"/>
              <a:gd name="connsiteX10" fmla="*/ 1747308 w 2419350"/>
              <a:gd name="connsiteY10" fmla="*/ 2180697 h 2419350"/>
              <a:gd name="connsiteX11" fmla="*/ 1693545 w 2419350"/>
              <a:gd name="connsiteY11" fmla="*/ 1939060 h 2419350"/>
              <a:gd name="connsiteX12" fmla="*/ 1209675 w 2419350"/>
              <a:gd name="connsiteY12" fmla="*/ 2419350 h 2419350"/>
              <a:gd name="connsiteX13" fmla="*/ 1202115 w 2419350"/>
              <a:gd name="connsiteY13" fmla="*/ 2411845 h 2419350"/>
              <a:gd name="connsiteX14" fmla="*/ 1193678 w 2419350"/>
              <a:gd name="connsiteY14" fmla="*/ 2403471 h 2419350"/>
              <a:gd name="connsiteX15" fmla="*/ 1184158 w 2419350"/>
              <a:gd name="connsiteY15" fmla="*/ 2394022 h 2419350"/>
              <a:gd name="connsiteX16" fmla="*/ 725805 w 2419350"/>
              <a:gd name="connsiteY16" fmla="*/ 1939060 h 2419350"/>
              <a:gd name="connsiteX17" fmla="*/ 672041 w 2419350"/>
              <a:gd name="connsiteY17" fmla="*/ 2180697 h 2419350"/>
              <a:gd name="connsiteX18" fmla="*/ 277777 w 2419350"/>
              <a:gd name="connsiteY18" fmla="*/ 2141915 h 2419350"/>
              <a:gd name="connsiteX19" fmla="*/ 238948 w 2419350"/>
              <a:gd name="connsiteY19" fmla="*/ 1745154 h 2419350"/>
              <a:gd name="connsiteX20" fmla="*/ 414099 w 2419350"/>
              <a:gd name="connsiteY20" fmla="*/ 1681389 h 2419350"/>
              <a:gd name="connsiteX21" fmla="*/ 480703 w 2419350"/>
              <a:gd name="connsiteY21" fmla="*/ 1691430 h 2419350"/>
              <a:gd name="connsiteX22" fmla="*/ 480883 w 2419350"/>
              <a:gd name="connsiteY22" fmla="*/ 1691457 h 2419350"/>
              <a:gd name="connsiteX23" fmla="*/ 0 w 2419350"/>
              <a:gd name="connsiteY23" fmla="*/ 1211167 h 2419350"/>
              <a:gd name="connsiteX24" fmla="*/ 1209675 w 2419350"/>
              <a:gd name="connsiteY24" fmla="*/ 0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19350" h="2419350">
                <a:moveTo>
                  <a:pt x="1209675" y="0"/>
                </a:moveTo>
                <a:cubicBezTo>
                  <a:pt x="1209675" y="0"/>
                  <a:pt x="1209675" y="0"/>
                  <a:pt x="1693545" y="483273"/>
                </a:cubicBezTo>
                <a:cubicBezTo>
                  <a:pt x="1666663" y="393778"/>
                  <a:pt x="1684584" y="304283"/>
                  <a:pt x="1747308" y="241637"/>
                </a:cubicBezTo>
                <a:cubicBezTo>
                  <a:pt x="1845874" y="143192"/>
                  <a:pt x="2022099" y="158108"/>
                  <a:pt x="2141573" y="277435"/>
                </a:cubicBezTo>
                <a:cubicBezTo>
                  <a:pt x="2261047" y="396762"/>
                  <a:pt x="2278968" y="575752"/>
                  <a:pt x="2180402" y="674196"/>
                </a:cubicBezTo>
                <a:cubicBezTo>
                  <a:pt x="2117678" y="736843"/>
                  <a:pt x="2028072" y="751759"/>
                  <a:pt x="1938467" y="727893"/>
                </a:cubicBezTo>
                <a:cubicBezTo>
                  <a:pt x="1938467" y="727893"/>
                  <a:pt x="1938467" y="727893"/>
                  <a:pt x="2419350" y="1211167"/>
                </a:cubicBezTo>
                <a:cubicBezTo>
                  <a:pt x="2419350" y="1211167"/>
                  <a:pt x="2419350" y="1211167"/>
                  <a:pt x="1938467" y="1691457"/>
                </a:cubicBezTo>
                <a:cubicBezTo>
                  <a:pt x="2028072" y="1667592"/>
                  <a:pt x="2117678" y="1685491"/>
                  <a:pt x="2180402" y="1745154"/>
                </a:cubicBezTo>
                <a:cubicBezTo>
                  <a:pt x="2278968" y="1846582"/>
                  <a:pt x="2261047" y="2022589"/>
                  <a:pt x="2141573" y="2141915"/>
                </a:cubicBezTo>
                <a:cubicBezTo>
                  <a:pt x="2022099" y="2261242"/>
                  <a:pt x="1845874" y="2279141"/>
                  <a:pt x="1747308" y="2180697"/>
                </a:cubicBezTo>
                <a:cubicBezTo>
                  <a:pt x="1684584" y="2118050"/>
                  <a:pt x="1666663" y="2025572"/>
                  <a:pt x="1693545" y="1939060"/>
                </a:cubicBezTo>
                <a:cubicBezTo>
                  <a:pt x="1693545" y="1939060"/>
                  <a:pt x="1693545" y="1939060"/>
                  <a:pt x="1209675" y="2419350"/>
                </a:cubicBezTo>
                <a:cubicBezTo>
                  <a:pt x="1209675" y="2419350"/>
                  <a:pt x="1209675" y="2419350"/>
                  <a:pt x="1202115" y="2411845"/>
                </a:cubicBezTo>
                <a:lnTo>
                  <a:pt x="1193678" y="2403471"/>
                </a:lnTo>
                <a:lnTo>
                  <a:pt x="1184158" y="2394022"/>
                </a:lnTo>
                <a:cubicBezTo>
                  <a:pt x="1141631" y="2351809"/>
                  <a:pt x="1028224" y="2239241"/>
                  <a:pt x="725805" y="1939060"/>
                </a:cubicBezTo>
                <a:cubicBezTo>
                  <a:pt x="752686" y="2025572"/>
                  <a:pt x="734765" y="2118050"/>
                  <a:pt x="672041" y="2180697"/>
                </a:cubicBezTo>
                <a:cubicBezTo>
                  <a:pt x="573475" y="2279141"/>
                  <a:pt x="397251" y="2261242"/>
                  <a:pt x="277777" y="2141915"/>
                </a:cubicBezTo>
                <a:cubicBezTo>
                  <a:pt x="158303" y="2022589"/>
                  <a:pt x="140382" y="1846582"/>
                  <a:pt x="238948" y="1745154"/>
                </a:cubicBezTo>
                <a:cubicBezTo>
                  <a:pt x="285991" y="1700407"/>
                  <a:pt x="348155" y="1679152"/>
                  <a:pt x="414099" y="1681389"/>
                </a:cubicBezTo>
                <a:lnTo>
                  <a:pt x="480703" y="1691430"/>
                </a:lnTo>
                <a:lnTo>
                  <a:pt x="480883" y="1691457"/>
                </a:lnTo>
                <a:cubicBezTo>
                  <a:pt x="480883" y="1691457"/>
                  <a:pt x="480883" y="1691457"/>
                  <a:pt x="0" y="1211167"/>
                </a:cubicBezTo>
                <a:cubicBezTo>
                  <a:pt x="0" y="1211167"/>
                  <a:pt x="0" y="1211167"/>
                  <a:pt x="1209675" y="0"/>
                </a:cubicBezTo>
                <a:close/>
              </a:path>
            </a:pathLst>
          </a:custGeom>
          <a:solidFill>
            <a:srgbClr val="FFCC34">
              <a:alpha val="54000"/>
            </a:srgbClr>
          </a:solidFill>
          <a:ln>
            <a:noFill/>
          </a:ln>
        </p:spPr>
        <p:txBody>
          <a:bodyPr vert="horz" wrap="square" lIns="68580" tIns="34290" rIns="68580" bIns="34290" numCol="1" anchor="t" anchorCtr="0" compatLnSpc="1">
            <a:prstTxWarp prst="textNoShape">
              <a:avLst/>
            </a:prstTxWarp>
            <a:noAutofit/>
          </a:bodyPr>
          <a:lstStyle/>
          <a:p>
            <a:endParaRPr lang="en-US" sz="1350"/>
          </a:p>
        </p:txBody>
      </p:sp>
      <p:sp>
        <p:nvSpPr>
          <p:cNvPr id="5" name="Slide Number Placeholder 4">
            <a:extLst>
              <a:ext uri="{FF2B5EF4-FFF2-40B4-BE49-F238E27FC236}">
                <a16:creationId xmlns:a16="http://schemas.microsoft.com/office/drawing/2014/main" id="{10C391AF-126D-4E78-B9ED-0E325239AACB}"/>
              </a:ext>
            </a:extLst>
          </p:cNvPr>
          <p:cNvSpPr>
            <a:spLocks noGrp="1"/>
          </p:cNvSpPr>
          <p:nvPr>
            <p:ph type="sldNum" sz="quarter" idx="4"/>
          </p:nvPr>
        </p:nvSpPr>
        <p:spPr>
          <a:xfrm>
            <a:off x="10591798" y="6423127"/>
            <a:ext cx="762001" cy="222250"/>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980692-5CF5-4477-9CC7-CF761597EE5F}" type="slidenum">
              <a:rPr lang="en-US" smtClean="0"/>
              <a:pPr/>
              <a:t>2</a:t>
            </a:fld>
            <a:endParaRPr lang="en-US"/>
          </a:p>
        </p:txBody>
      </p:sp>
      <p:sp>
        <p:nvSpPr>
          <p:cNvPr id="31" name="Freeform 6">
            <a:extLst>
              <a:ext uri="{FF2B5EF4-FFF2-40B4-BE49-F238E27FC236}">
                <a16:creationId xmlns:a16="http://schemas.microsoft.com/office/drawing/2014/main" id="{17FF8CAA-1C59-4643-8629-E8E78BB4F01A}"/>
              </a:ext>
            </a:extLst>
          </p:cNvPr>
          <p:cNvSpPr>
            <a:spLocks/>
          </p:cNvSpPr>
          <p:nvPr/>
        </p:nvSpPr>
        <p:spPr bwMode="auto">
          <a:xfrm>
            <a:off x="185293" y="2091936"/>
            <a:ext cx="1816894" cy="1812131"/>
          </a:xfrm>
          <a:custGeom>
            <a:avLst/>
            <a:gdLst>
              <a:gd name="T0" fmla="*/ 730 w 811"/>
              <a:gd name="T1" fmla="*/ 585 h 810"/>
              <a:gd name="T2" fmla="*/ 649 w 811"/>
              <a:gd name="T3" fmla="*/ 567 h 810"/>
              <a:gd name="T4" fmla="*/ 811 w 811"/>
              <a:gd name="T5" fmla="*/ 405 h 810"/>
              <a:gd name="T6" fmla="*/ 645 w 811"/>
              <a:gd name="T7" fmla="*/ 239 h 810"/>
              <a:gd name="T8" fmla="*/ 629 w 811"/>
              <a:gd name="T9" fmla="*/ 327 h 810"/>
              <a:gd name="T10" fmla="*/ 496 w 811"/>
              <a:gd name="T11" fmla="*/ 314 h 810"/>
              <a:gd name="T12" fmla="*/ 484 w 811"/>
              <a:gd name="T13" fmla="*/ 182 h 810"/>
              <a:gd name="T14" fmla="*/ 571 w 811"/>
              <a:gd name="T15" fmla="*/ 166 h 810"/>
              <a:gd name="T16" fmla="*/ 405 w 811"/>
              <a:gd name="T17" fmla="*/ 0 h 810"/>
              <a:gd name="T18" fmla="*/ 244 w 811"/>
              <a:gd name="T19" fmla="*/ 161 h 810"/>
              <a:gd name="T20" fmla="*/ 325 w 811"/>
              <a:gd name="T21" fmla="*/ 179 h 810"/>
              <a:gd name="T22" fmla="*/ 312 w 811"/>
              <a:gd name="T23" fmla="*/ 312 h 810"/>
              <a:gd name="T24" fmla="*/ 180 w 811"/>
              <a:gd name="T25" fmla="*/ 325 h 810"/>
              <a:gd name="T26" fmla="*/ 162 w 811"/>
              <a:gd name="T27" fmla="*/ 243 h 810"/>
              <a:gd name="T28" fmla="*/ 0 w 811"/>
              <a:gd name="T29" fmla="*/ 405 h 810"/>
              <a:gd name="T30" fmla="*/ 405 w 811"/>
              <a:gd name="T31" fmla="*/ 810 h 810"/>
              <a:gd name="T32" fmla="*/ 567 w 811"/>
              <a:gd name="T33" fmla="*/ 649 h 810"/>
              <a:gd name="T34" fmla="*/ 585 w 811"/>
              <a:gd name="T35" fmla="*/ 730 h 810"/>
              <a:gd name="T36" fmla="*/ 718 w 811"/>
              <a:gd name="T37" fmla="*/ 718 h 810"/>
              <a:gd name="T38" fmla="*/ 730 w 811"/>
              <a:gd name="T39" fmla="*/ 585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1" h="810">
                <a:moveTo>
                  <a:pt x="730" y="585"/>
                </a:moveTo>
                <a:cubicBezTo>
                  <a:pt x="710" y="564"/>
                  <a:pt x="679" y="559"/>
                  <a:pt x="649" y="567"/>
                </a:cubicBezTo>
                <a:cubicBezTo>
                  <a:pt x="811" y="405"/>
                  <a:pt x="811" y="405"/>
                  <a:pt x="811" y="405"/>
                </a:cubicBezTo>
                <a:cubicBezTo>
                  <a:pt x="645" y="239"/>
                  <a:pt x="645" y="239"/>
                  <a:pt x="645" y="239"/>
                </a:cubicBezTo>
                <a:cubicBezTo>
                  <a:pt x="656" y="271"/>
                  <a:pt x="651" y="305"/>
                  <a:pt x="629" y="327"/>
                </a:cubicBezTo>
                <a:cubicBezTo>
                  <a:pt x="596" y="360"/>
                  <a:pt x="536" y="354"/>
                  <a:pt x="496" y="314"/>
                </a:cubicBezTo>
                <a:cubicBezTo>
                  <a:pt x="456" y="274"/>
                  <a:pt x="450" y="215"/>
                  <a:pt x="484" y="182"/>
                </a:cubicBezTo>
                <a:cubicBezTo>
                  <a:pt x="506" y="160"/>
                  <a:pt x="539" y="155"/>
                  <a:pt x="571" y="166"/>
                </a:cubicBezTo>
                <a:cubicBezTo>
                  <a:pt x="405" y="0"/>
                  <a:pt x="405" y="0"/>
                  <a:pt x="405" y="0"/>
                </a:cubicBezTo>
                <a:cubicBezTo>
                  <a:pt x="244" y="161"/>
                  <a:pt x="244" y="161"/>
                  <a:pt x="244" y="161"/>
                </a:cubicBezTo>
                <a:cubicBezTo>
                  <a:pt x="274" y="153"/>
                  <a:pt x="304" y="159"/>
                  <a:pt x="325" y="179"/>
                </a:cubicBezTo>
                <a:cubicBezTo>
                  <a:pt x="358" y="213"/>
                  <a:pt x="352" y="272"/>
                  <a:pt x="312" y="312"/>
                </a:cubicBezTo>
                <a:cubicBezTo>
                  <a:pt x="272" y="352"/>
                  <a:pt x="213" y="358"/>
                  <a:pt x="180" y="325"/>
                </a:cubicBezTo>
                <a:cubicBezTo>
                  <a:pt x="159" y="304"/>
                  <a:pt x="153" y="273"/>
                  <a:pt x="162" y="243"/>
                </a:cubicBezTo>
                <a:cubicBezTo>
                  <a:pt x="0" y="405"/>
                  <a:pt x="0" y="405"/>
                  <a:pt x="0" y="405"/>
                </a:cubicBezTo>
                <a:cubicBezTo>
                  <a:pt x="405" y="810"/>
                  <a:pt x="405" y="810"/>
                  <a:pt x="405" y="810"/>
                </a:cubicBezTo>
                <a:cubicBezTo>
                  <a:pt x="567" y="649"/>
                  <a:pt x="567" y="649"/>
                  <a:pt x="567" y="649"/>
                </a:cubicBezTo>
                <a:cubicBezTo>
                  <a:pt x="559" y="679"/>
                  <a:pt x="564" y="709"/>
                  <a:pt x="585" y="730"/>
                </a:cubicBezTo>
                <a:cubicBezTo>
                  <a:pt x="618" y="763"/>
                  <a:pt x="678" y="758"/>
                  <a:pt x="718" y="718"/>
                </a:cubicBezTo>
                <a:cubicBezTo>
                  <a:pt x="758" y="677"/>
                  <a:pt x="763" y="618"/>
                  <a:pt x="730" y="585"/>
                </a:cubicBezTo>
                <a:close/>
              </a:path>
            </a:pathLst>
          </a:custGeom>
          <a:solidFill>
            <a:srgbClr val="2DB060">
              <a:alpha val="54000"/>
            </a:srgbClr>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33" name="Freeform: Shape 32">
            <a:extLst>
              <a:ext uri="{FF2B5EF4-FFF2-40B4-BE49-F238E27FC236}">
                <a16:creationId xmlns:a16="http://schemas.microsoft.com/office/drawing/2014/main" id="{48DB9545-786B-4B3C-9993-7F4F600DCCBC}"/>
              </a:ext>
            </a:extLst>
          </p:cNvPr>
          <p:cNvSpPr>
            <a:spLocks/>
          </p:cNvSpPr>
          <p:nvPr/>
        </p:nvSpPr>
        <p:spPr bwMode="auto">
          <a:xfrm rot="20818138">
            <a:off x="-13310" y="4891091"/>
            <a:ext cx="1814512" cy="1814513"/>
          </a:xfrm>
          <a:custGeom>
            <a:avLst/>
            <a:gdLst>
              <a:gd name="connsiteX0" fmla="*/ 1209674 w 2419349"/>
              <a:gd name="connsiteY0" fmla="*/ 0 h 2419350"/>
              <a:gd name="connsiteX1" fmla="*/ 1690557 w 2419349"/>
              <a:gd name="connsiteY1" fmla="*/ 483274 h 2419350"/>
              <a:gd name="connsiteX2" fmla="*/ 1747307 w 2419349"/>
              <a:gd name="connsiteY2" fmla="*/ 241637 h 2419350"/>
              <a:gd name="connsiteX3" fmla="*/ 2141572 w 2419349"/>
              <a:gd name="connsiteY3" fmla="*/ 277435 h 2419350"/>
              <a:gd name="connsiteX4" fmla="*/ 2180401 w 2419349"/>
              <a:gd name="connsiteY4" fmla="*/ 674196 h 2419350"/>
              <a:gd name="connsiteX5" fmla="*/ 1938466 w 2419349"/>
              <a:gd name="connsiteY5" fmla="*/ 727893 h 2419350"/>
              <a:gd name="connsiteX6" fmla="*/ 2419349 w 2419349"/>
              <a:gd name="connsiteY6" fmla="*/ 1208184 h 2419350"/>
              <a:gd name="connsiteX7" fmla="*/ 1923531 w 2419349"/>
              <a:gd name="connsiteY7" fmla="*/ 1703390 h 2419350"/>
              <a:gd name="connsiteX8" fmla="*/ 1875742 w 2419349"/>
              <a:gd name="connsiteY8" fmla="*/ 1443854 h 2419350"/>
              <a:gd name="connsiteX9" fmla="*/ 1481477 w 2419349"/>
              <a:gd name="connsiteY9" fmla="*/ 1479652 h 2419350"/>
              <a:gd name="connsiteX10" fmla="*/ 1442648 w 2419349"/>
              <a:gd name="connsiteY10" fmla="*/ 1876413 h 2419350"/>
              <a:gd name="connsiteX11" fmla="*/ 1705491 w 2419349"/>
              <a:gd name="connsiteY11" fmla="*/ 1924144 h 2419350"/>
              <a:gd name="connsiteX12" fmla="*/ 1209674 w 2419349"/>
              <a:gd name="connsiteY12" fmla="*/ 2419350 h 2419350"/>
              <a:gd name="connsiteX13" fmla="*/ 707883 w 2419349"/>
              <a:gd name="connsiteY13" fmla="*/ 1918178 h 2419350"/>
              <a:gd name="connsiteX14" fmla="*/ 663080 w 2419349"/>
              <a:gd name="connsiteY14" fmla="*/ 2189646 h 2419350"/>
              <a:gd name="connsiteX15" fmla="*/ 265829 w 2419349"/>
              <a:gd name="connsiteY15" fmla="*/ 2150865 h 2419350"/>
              <a:gd name="connsiteX16" fmla="*/ 229986 w 2419349"/>
              <a:gd name="connsiteY16" fmla="*/ 1757087 h 2419350"/>
              <a:gd name="connsiteX17" fmla="*/ 501790 w 2419349"/>
              <a:gd name="connsiteY17" fmla="*/ 1712339 h 2419350"/>
              <a:gd name="connsiteX18" fmla="*/ 88327 w 2419349"/>
              <a:gd name="connsiteY18" fmla="*/ 1296928 h 2419350"/>
              <a:gd name="connsiteX19" fmla="*/ 1487 w 2419349"/>
              <a:gd name="connsiteY19" fmla="*/ 1209679 h 2419350"/>
              <a:gd name="connsiteX20" fmla="*/ 1488 w 2419349"/>
              <a:gd name="connsiteY20" fmla="*/ 1209679 h 2419350"/>
              <a:gd name="connsiteX21" fmla="*/ 0 w 2419349"/>
              <a:gd name="connsiteY21" fmla="*/ 1208184 h 2419350"/>
              <a:gd name="connsiteX22" fmla="*/ 480883 w 2419349"/>
              <a:gd name="connsiteY22" fmla="*/ 727893 h 2419350"/>
              <a:gd name="connsiteX23" fmla="*/ 238948 w 2419349"/>
              <a:gd name="connsiteY23" fmla="*/ 674196 h 2419350"/>
              <a:gd name="connsiteX24" fmla="*/ 277777 w 2419349"/>
              <a:gd name="connsiteY24" fmla="*/ 277435 h 2419350"/>
              <a:gd name="connsiteX25" fmla="*/ 672041 w 2419349"/>
              <a:gd name="connsiteY25" fmla="*/ 241637 h 2419350"/>
              <a:gd name="connsiteX26" fmla="*/ 725805 w 2419349"/>
              <a:gd name="connsiteY26" fmla="*/ 483274 h 2419350"/>
              <a:gd name="connsiteX27" fmla="*/ 1124502 w 2419349"/>
              <a:gd name="connsiteY27" fmla="*/ 85068 h 2419350"/>
              <a:gd name="connsiteX28" fmla="*/ 1209627 w 2419349"/>
              <a:gd name="connsiteY28" fmla="*/ 50 h 2419350"/>
              <a:gd name="connsiteX29" fmla="*/ 1209626 w 2419349"/>
              <a:gd name="connsiteY29" fmla="*/ 49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19349" h="2419350">
                <a:moveTo>
                  <a:pt x="1209674" y="0"/>
                </a:moveTo>
                <a:cubicBezTo>
                  <a:pt x="1209674" y="0"/>
                  <a:pt x="1209674" y="0"/>
                  <a:pt x="1690557" y="483274"/>
                </a:cubicBezTo>
                <a:cubicBezTo>
                  <a:pt x="1666662" y="393778"/>
                  <a:pt x="1684583" y="301300"/>
                  <a:pt x="1747307" y="241637"/>
                </a:cubicBezTo>
                <a:cubicBezTo>
                  <a:pt x="1845873" y="140209"/>
                  <a:pt x="2022098" y="158108"/>
                  <a:pt x="2141572" y="277435"/>
                </a:cubicBezTo>
                <a:cubicBezTo>
                  <a:pt x="2261046" y="396762"/>
                  <a:pt x="2278967" y="575752"/>
                  <a:pt x="2180401" y="674196"/>
                </a:cubicBezTo>
                <a:cubicBezTo>
                  <a:pt x="2117677" y="733860"/>
                  <a:pt x="2028071" y="751759"/>
                  <a:pt x="1938466" y="727893"/>
                </a:cubicBezTo>
                <a:cubicBezTo>
                  <a:pt x="1938466" y="727893"/>
                  <a:pt x="1938466" y="727893"/>
                  <a:pt x="2419349" y="1208184"/>
                </a:cubicBezTo>
                <a:cubicBezTo>
                  <a:pt x="2419349" y="1208184"/>
                  <a:pt x="2419349" y="1208184"/>
                  <a:pt x="1923531" y="1703390"/>
                </a:cubicBezTo>
                <a:cubicBezTo>
                  <a:pt x="1956387" y="1610911"/>
                  <a:pt x="1941453" y="1509484"/>
                  <a:pt x="1875742" y="1443854"/>
                </a:cubicBezTo>
                <a:cubicBezTo>
                  <a:pt x="1777176" y="1345409"/>
                  <a:pt x="1600951" y="1360325"/>
                  <a:pt x="1481477" y="1479652"/>
                </a:cubicBezTo>
                <a:cubicBezTo>
                  <a:pt x="1362003" y="1598979"/>
                  <a:pt x="1344082" y="1777969"/>
                  <a:pt x="1442648" y="1876413"/>
                </a:cubicBezTo>
                <a:cubicBezTo>
                  <a:pt x="1508359" y="1942043"/>
                  <a:pt x="1609912" y="1956959"/>
                  <a:pt x="1705491" y="1924144"/>
                </a:cubicBezTo>
                <a:cubicBezTo>
                  <a:pt x="1705491" y="1924144"/>
                  <a:pt x="1705491" y="1924144"/>
                  <a:pt x="1209674" y="2419350"/>
                </a:cubicBezTo>
                <a:cubicBezTo>
                  <a:pt x="1209674" y="2419350"/>
                  <a:pt x="1209674" y="2419350"/>
                  <a:pt x="707883" y="1918178"/>
                </a:cubicBezTo>
                <a:cubicBezTo>
                  <a:pt x="743725" y="2016622"/>
                  <a:pt x="731777" y="2121033"/>
                  <a:pt x="663080" y="2189646"/>
                </a:cubicBezTo>
                <a:cubicBezTo>
                  <a:pt x="564514" y="2288091"/>
                  <a:pt x="385303" y="2270192"/>
                  <a:pt x="265829" y="2150865"/>
                </a:cubicBezTo>
                <a:cubicBezTo>
                  <a:pt x="146354" y="2031538"/>
                  <a:pt x="131420" y="1855531"/>
                  <a:pt x="229986" y="1757087"/>
                </a:cubicBezTo>
                <a:cubicBezTo>
                  <a:pt x="298684" y="1688474"/>
                  <a:pt x="403224" y="1673558"/>
                  <a:pt x="501790" y="1712339"/>
                </a:cubicBezTo>
                <a:cubicBezTo>
                  <a:pt x="501790" y="1712339"/>
                  <a:pt x="501790" y="1712339"/>
                  <a:pt x="88327" y="1296928"/>
                </a:cubicBezTo>
                <a:lnTo>
                  <a:pt x="1487" y="1209679"/>
                </a:lnTo>
                <a:lnTo>
                  <a:pt x="1488" y="1209679"/>
                </a:lnTo>
                <a:lnTo>
                  <a:pt x="0" y="1208184"/>
                </a:lnTo>
                <a:cubicBezTo>
                  <a:pt x="0" y="1208184"/>
                  <a:pt x="0" y="1208184"/>
                  <a:pt x="480883" y="727893"/>
                </a:cubicBezTo>
                <a:cubicBezTo>
                  <a:pt x="391277" y="751759"/>
                  <a:pt x="301672" y="733860"/>
                  <a:pt x="238948" y="674196"/>
                </a:cubicBezTo>
                <a:cubicBezTo>
                  <a:pt x="140382" y="575752"/>
                  <a:pt x="158303" y="396762"/>
                  <a:pt x="277777" y="277435"/>
                </a:cubicBezTo>
                <a:cubicBezTo>
                  <a:pt x="397251" y="158108"/>
                  <a:pt x="573475" y="143192"/>
                  <a:pt x="672041" y="241637"/>
                </a:cubicBezTo>
                <a:cubicBezTo>
                  <a:pt x="734765" y="301300"/>
                  <a:pt x="752686" y="393778"/>
                  <a:pt x="725805" y="483274"/>
                </a:cubicBezTo>
                <a:cubicBezTo>
                  <a:pt x="725805" y="483274"/>
                  <a:pt x="725805" y="483274"/>
                  <a:pt x="1124502" y="85068"/>
                </a:cubicBezTo>
                <a:lnTo>
                  <a:pt x="1209627" y="50"/>
                </a:lnTo>
                <a:lnTo>
                  <a:pt x="1209626" y="49"/>
                </a:lnTo>
                <a:close/>
              </a:path>
            </a:pathLst>
          </a:custGeom>
          <a:solidFill>
            <a:srgbClr val="006AF9">
              <a:alpha val="54000"/>
            </a:srgbClr>
          </a:solidFill>
          <a:ln>
            <a:noFill/>
          </a:ln>
        </p:spPr>
        <p:txBody>
          <a:bodyPr vert="horz" wrap="square" lIns="68580" tIns="34290" rIns="68580" bIns="34290" numCol="1" anchor="t" anchorCtr="0" compatLnSpc="1">
            <a:prstTxWarp prst="textNoShape">
              <a:avLst/>
            </a:prstTxWarp>
            <a:noAutofit/>
          </a:bodyPr>
          <a:lstStyle/>
          <a:p>
            <a:endParaRPr lang="en-US" sz="1350"/>
          </a:p>
        </p:txBody>
      </p:sp>
      <p:sp>
        <p:nvSpPr>
          <p:cNvPr id="34" name="Freeform: Shape 33">
            <a:extLst>
              <a:ext uri="{FF2B5EF4-FFF2-40B4-BE49-F238E27FC236}">
                <a16:creationId xmlns:a16="http://schemas.microsoft.com/office/drawing/2014/main" id="{887FF983-044B-40A6-819C-D4F71CD123D5}"/>
              </a:ext>
            </a:extLst>
          </p:cNvPr>
          <p:cNvSpPr>
            <a:spLocks/>
          </p:cNvSpPr>
          <p:nvPr/>
        </p:nvSpPr>
        <p:spPr bwMode="auto">
          <a:xfrm>
            <a:off x="1594814" y="1429955"/>
            <a:ext cx="1816858" cy="1814513"/>
          </a:xfrm>
          <a:custGeom>
            <a:avLst/>
            <a:gdLst>
              <a:gd name="connsiteX0" fmla="*/ 1212756 w 2422477"/>
              <a:gd name="connsiteY0" fmla="*/ 0 h 2419350"/>
              <a:gd name="connsiteX1" fmla="*/ 1693553 w 2422477"/>
              <a:gd name="connsiteY1" fmla="*/ 480167 h 2419350"/>
              <a:gd name="connsiteX2" fmla="*/ 1626949 w 2422477"/>
              <a:gd name="connsiteY2" fmla="*/ 470126 h 2419350"/>
              <a:gd name="connsiteX3" fmla="*/ 1451798 w 2422477"/>
              <a:gd name="connsiteY3" fmla="*/ 533891 h 2419350"/>
              <a:gd name="connsiteX4" fmla="*/ 1490627 w 2422477"/>
              <a:gd name="connsiteY4" fmla="*/ 930652 h 2419350"/>
              <a:gd name="connsiteX5" fmla="*/ 1884891 w 2422477"/>
              <a:gd name="connsiteY5" fmla="*/ 969434 h 2419350"/>
              <a:gd name="connsiteX6" fmla="*/ 1938655 w 2422477"/>
              <a:gd name="connsiteY6" fmla="*/ 727797 h 2419350"/>
              <a:gd name="connsiteX7" fmla="*/ 2397008 w 2422477"/>
              <a:gd name="connsiteY7" fmla="*/ 1182759 h 2419350"/>
              <a:gd name="connsiteX8" fmla="*/ 2406528 w 2422477"/>
              <a:gd name="connsiteY8" fmla="*/ 1192208 h 2419350"/>
              <a:gd name="connsiteX9" fmla="*/ 2422477 w 2422477"/>
              <a:gd name="connsiteY9" fmla="*/ 1208136 h 2419350"/>
              <a:gd name="connsiteX10" fmla="*/ 2337352 w 2422477"/>
              <a:gd name="connsiteY10" fmla="*/ 1293155 h 2419350"/>
              <a:gd name="connsiteX11" fmla="*/ 1938655 w 2422477"/>
              <a:gd name="connsiteY11" fmla="*/ 1691361 h 2419350"/>
              <a:gd name="connsiteX12" fmla="*/ 1884891 w 2422477"/>
              <a:gd name="connsiteY12" fmla="*/ 1449724 h 2419350"/>
              <a:gd name="connsiteX13" fmla="*/ 1490627 w 2422477"/>
              <a:gd name="connsiteY13" fmla="*/ 1485522 h 2419350"/>
              <a:gd name="connsiteX14" fmla="*/ 1451798 w 2422477"/>
              <a:gd name="connsiteY14" fmla="*/ 1882283 h 2419350"/>
              <a:gd name="connsiteX15" fmla="*/ 1693733 w 2422477"/>
              <a:gd name="connsiteY15" fmla="*/ 1935980 h 2419350"/>
              <a:gd name="connsiteX16" fmla="*/ 1212850 w 2422477"/>
              <a:gd name="connsiteY16" fmla="*/ 2416271 h 2419350"/>
              <a:gd name="connsiteX17" fmla="*/ 1214338 w 2422477"/>
              <a:gd name="connsiteY17" fmla="*/ 2417766 h 2419350"/>
              <a:gd name="connsiteX18" fmla="*/ 1212756 w 2422477"/>
              <a:gd name="connsiteY18" fmla="*/ 2419350 h 2419350"/>
              <a:gd name="connsiteX19" fmla="*/ 716900 w 2422477"/>
              <a:gd name="connsiteY19" fmla="*/ 1924144 h 2419350"/>
              <a:gd name="connsiteX20" fmla="*/ 976776 w 2422477"/>
              <a:gd name="connsiteY20" fmla="*/ 1876413 h 2419350"/>
              <a:gd name="connsiteX21" fmla="*/ 940931 w 2422477"/>
              <a:gd name="connsiteY21" fmla="*/ 1479652 h 2419350"/>
              <a:gd name="connsiteX22" fmla="*/ 543649 w 2422477"/>
              <a:gd name="connsiteY22" fmla="*/ 1440871 h 2419350"/>
              <a:gd name="connsiteX23" fmla="*/ 495856 w 2422477"/>
              <a:gd name="connsiteY23" fmla="*/ 1703390 h 2419350"/>
              <a:gd name="connsiteX24" fmla="*/ 0 w 2422477"/>
              <a:gd name="connsiteY24" fmla="*/ 1208184 h 2419350"/>
              <a:gd name="connsiteX25" fmla="*/ 480920 w 2422477"/>
              <a:gd name="connsiteY25" fmla="*/ 730877 h 2419350"/>
              <a:gd name="connsiteX26" fmla="*/ 238966 w 2422477"/>
              <a:gd name="connsiteY26" fmla="*/ 677180 h 2419350"/>
              <a:gd name="connsiteX27" fmla="*/ 274811 w 2422477"/>
              <a:gd name="connsiteY27" fmla="*/ 280418 h 2419350"/>
              <a:gd name="connsiteX28" fmla="*/ 672094 w 2422477"/>
              <a:gd name="connsiteY28" fmla="*/ 241637 h 2419350"/>
              <a:gd name="connsiteX29" fmla="*/ 725861 w 2422477"/>
              <a:gd name="connsiteY29" fmla="*/ 486257 h 2419350"/>
              <a:gd name="connsiteX30" fmla="*/ 1212756 w 2422477"/>
              <a:gd name="connsiteY30" fmla="*/ 0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22477" h="2419350">
                <a:moveTo>
                  <a:pt x="1212756" y="0"/>
                </a:moveTo>
                <a:lnTo>
                  <a:pt x="1693553" y="480167"/>
                </a:lnTo>
                <a:lnTo>
                  <a:pt x="1626949" y="470126"/>
                </a:lnTo>
                <a:cubicBezTo>
                  <a:pt x="1561005" y="467889"/>
                  <a:pt x="1498841" y="489144"/>
                  <a:pt x="1451798" y="533891"/>
                </a:cubicBezTo>
                <a:cubicBezTo>
                  <a:pt x="1353232" y="635319"/>
                  <a:pt x="1371153" y="811326"/>
                  <a:pt x="1490627" y="930652"/>
                </a:cubicBezTo>
                <a:cubicBezTo>
                  <a:pt x="1610101" y="1049979"/>
                  <a:pt x="1786325" y="1067878"/>
                  <a:pt x="1884891" y="969434"/>
                </a:cubicBezTo>
                <a:cubicBezTo>
                  <a:pt x="1947615" y="906787"/>
                  <a:pt x="1965536" y="814309"/>
                  <a:pt x="1938655" y="727797"/>
                </a:cubicBezTo>
                <a:cubicBezTo>
                  <a:pt x="2241074" y="1027978"/>
                  <a:pt x="2354481" y="1140546"/>
                  <a:pt x="2397008" y="1182759"/>
                </a:cubicBezTo>
                <a:lnTo>
                  <a:pt x="2406528" y="1192208"/>
                </a:lnTo>
                <a:lnTo>
                  <a:pt x="2422477" y="1208136"/>
                </a:lnTo>
                <a:lnTo>
                  <a:pt x="2337352" y="1293155"/>
                </a:lnTo>
                <a:cubicBezTo>
                  <a:pt x="1938655" y="1691361"/>
                  <a:pt x="1938655" y="1691361"/>
                  <a:pt x="1938655" y="1691361"/>
                </a:cubicBezTo>
                <a:cubicBezTo>
                  <a:pt x="1965536" y="1601865"/>
                  <a:pt x="1947615" y="1509387"/>
                  <a:pt x="1884891" y="1449724"/>
                </a:cubicBezTo>
                <a:cubicBezTo>
                  <a:pt x="1786325" y="1351279"/>
                  <a:pt x="1610101" y="1366195"/>
                  <a:pt x="1490627" y="1485522"/>
                </a:cubicBezTo>
                <a:cubicBezTo>
                  <a:pt x="1371153" y="1604849"/>
                  <a:pt x="1353232" y="1783839"/>
                  <a:pt x="1451798" y="1882283"/>
                </a:cubicBezTo>
                <a:cubicBezTo>
                  <a:pt x="1514522" y="1941947"/>
                  <a:pt x="1604127" y="1959846"/>
                  <a:pt x="1693733" y="1935980"/>
                </a:cubicBezTo>
                <a:cubicBezTo>
                  <a:pt x="1212850" y="2416271"/>
                  <a:pt x="1212850" y="2416271"/>
                  <a:pt x="1212850" y="2416271"/>
                </a:cubicBezTo>
                <a:lnTo>
                  <a:pt x="1214338" y="2417766"/>
                </a:lnTo>
                <a:lnTo>
                  <a:pt x="1212756" y="2419350"/>
                </a:lnTo>
                <a:cubicBezTo>
                  <a:pt x="1212756" y="2419350"/>
                  <a:pt x="1212756" y="2419350"/>
                  <a:pt x="716900" y="1924144"/>
                </a:cubicBezTo>
                <a:cubicBezTo>
                  <a:pt x="812487" y="1956959"/>
                  <a:pt x="911060" y="1942043"/>
                  <a:pt x="976776" y="1876413"/>
                </a:cubicBezTo>
                <a:cubicBezTo>
                  <a:pt x="1078337" y="1774986"/>
                  <a:pt x="1060415" y="1598979"/>
                  <a:pt x="940931" y="1479652"/>
                </a:cubicBezTo>
                <a:cubicBezTo>
                  <a:pt x="821448" y="1360325"/>
                  <a:pt x="642223" y="1342426"/>
                  <a:pt x="543649" y="1440871"/>
                </a:cubicBezTo>
                <a:cubicBezTo>
                  <a:pt x="477933" y="1509484"/>
                  <a:pt x="462998" y="1607928"/>
                  <a:pt x="495856" y="1703390"/>
                </a:cubicBezTo>
                <a:cubicBezTo>
                  <a:pt x="495856" y="1703390"/>
                  <a:pt x="495856" y="1703390"/>
                  <a:pt x="0" y="1208184"/>
                </a:cubicBezTo>
                <a:cubicBezTo>
                  <a:pt x="0" y="1208184"/>
                  <a:pt x="0" y="1208184"/>
                  <a:pt x="480920" y="730877"/>
                </a:cubicBezTo>
                <a:cubicBezTo>
                  <a:pt x="391308" y="754742"/>
                  <a:pt x="298708" y="736843"/>
                  <a:pt x="238966" y="677180"/>
                </a:cubicBezTo>
                <a:cubicBezTo>
                  <a:pt x="137406" y="575752"/>
                  <a:pt x="155328" y="399745"/>
                  <a:pt x="274811" y="280418"/>
                </a:cubicBezTo>
                <a:cubicBezTo>
                  <a:pt x="394295" y="161091"/>
                  <a:pt x="573520" y="143192"/>
                  <a:pt x="672094" y="241637"/>
                </a:cubicBezTo>
                <a:cubicBezTo>
                  <a:pt x="731835" y="304283"/>
                  <a:pt x="749758" y="396762"/>
                  <a:pt x="725861" y="486257"/>
                </a:cubicBezTo>
                <a:cubicBezTo>
                  <a:pt x="725861" y="486257"/>
                  <a:pt x="725861" y="486257"/>
                  <a:pt x="1212756" y="0"/>
                </a:cubicBezTo>
                <a:close/>
              </a:path>
            </a:pathLst>
          </a:custGeom>
          <a:solidFill>
            <a:srgbClr val="FF4300">
              <a:alpha val="54000"/>
            </a:srgbClr>
          </a:solidFill>
          <a:ln>
            <a:noFill/>
          </a:ln>
        </p:spPr>
        <p:txBody>
          <a:bodyPr vert="horz" wrap="square" lIns="68580" tIns="34290" rIns="68580" bIns="34290" numCol="1" anchor="t" anchorCtr="0" compatLnSpc="1">
            <a:prstTxWarp prst="textNoShape">
              <a:avLst/>
            </a:prstTxWarp>
            <a:noAutofit/>
          </a:bodyPr>
          <a:lstStyle/>
          <a:p>
            <a:endParaRPr lang="en-US" sz="1350"/>
          </a:p>
        </p:txBody>
      </p:sp>
      <p:pic>
        <p:nvPicPr>
          <p:cNvPr id="2" name="Picture 1" descr="Kimberly Peters, BCBA">
            <a:extLst>
              <a:ext uri="{FF2B5EF4-FFF2-40B4-BE49-F238E27FC236}">
                <a16:creationId xmlns:a16="http://schemas.microsoft.com/office/drawing/2014/main" id="{65B066EF-9776-FF45-5777-50D9AE849B92}"/>
              </a:ext>
            </a:extLst>
          </p:cNvPr>
          <p:cNvPicPr>
            <a:picLocks noChangeAspect="1"/>
          </p:cNvPicPr>
          <p:nvPr/>
        </p:nvPicPr>
        <p:blipFill>
          <a:blip r:embed="rId7"/>
          <a:stretch>
            <a:fillRect/>
          </a:stretch>
        </p:blipFill>
        <p:spPr>
          <a:xfrm>
            <a:off x="6723105" y="411281"/>
            <a:ext cx="2116095" cy="2116095"/>
          </a:xfrm>
          <a:prstGeom prst="rect">
            <a:avLst/>
          </a:prstGeom>
        </p:spPr>
      </p:pic>
      <p:sp>
        <p:nvSpPr>
          <p:cNvPr id="9" name="TextBox 8">
            <a:extLst>
              <a:ext uri="{FF2B5EF4-FFF2-40B4-BE49-F238E27FC236}">
                <a16:creationId xmlns:a16="http://schemas.microsoft.com/office/drawing/2014/main" id="{E145928A-0F06-5FEB-E032-82E0705ED9D1}"/>
              </a:ext>
            </a:extLst>
          </p:cNvPr>
          <p:cNvSpPr txBox="1"/>
          <p:nvPr/>
        </p:nvSpPr>
        <p:spPr>
          <a:xfrm>
            <a:off x="3123732" y="28334"/>
            <a:ext cx="2057400" cy="530915"/>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n-US" sz="3000" b="1" u="sng" dirty="0">
                <a:solidFill>
                  <a:srgbClr val="558336"/>
                </a:solidFill>
              </a:rPr>
              <a:t>About us</a:t>
            </a:r>
            <a:endParaRPr lang="en-US" sz="3000" u="sng" dirty="0"/>
          </a:p>
        </p:txBody>
      </p:sp>
      <p:sp>
        <p:nvSpPr>
          <p:cNvPr id="10" name="TextBox 9">
            <a:extLst>
              <a:ext uri="{FF2B5EF4-FFF2-40B4-BE49-F238E27FC236}">
                <a16:creationId xmlns:a16="http://schemas.microsoft.com/office/drawing/2014/main" id="{FB2F43D0-99E1-84D6-F678-39008B1F15B0}"/>
              </a:ext>
            </a:extLst>
          </p:cNvPr>
          <p:cNvSpPr txBox="1"/>
          <p:nvPr/>
        </p:nvSpPr>
        <p:spPr>
          <a:xfrm>
            <a:off x="2972700" y="529434"/>
            <a:ext cx="2057400" cy="346249"/>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n-US" dirty="0">
                <a:solidFill>
                  <a:schemeClr val="accent5">
                    <a:lumMod val="76000"/>
                  </a:schemeClr>
                </a:solidFill>
              </a:rPr>
              <a:t>Our Mission:</a:t>
            </a:r>
          </a:p>
        </p:txBody>
      </p:sp>
      <p:sp>
        <p:nvSpPr>
          <p:cNvPr id="12" name="TextBox 11">
            <a:extLst>
              <a:ext uri="{FF2B5EF4-FFF2-40B4-BE49-F238E27FC236}">
                <a16:creationId xmlns:a16="http://schemas.microsoft.com/office/drawing/2014/main" id="{5E19960C-E936-FC15-F538-0B3538F3AFC2}"/>
              </a:ext>
            </a:extLst>
          </p:cNvPr>
          <p:cNvSpPr txBox="1"/>
          <p:nvPr/>
        </p:nvSpPr>
        <p:spPr>
          <a:xfrm>
            <a:off x="3368007" y="822671"/>
            <a:ext cx="3097426" cy="1546577"/>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en-US" sz="1200" b="1" i="1" dirty="0">
                <a:solidFill>
                  <a:srgbClr val="5E5E5E"/>
                </a:solidFill>
                <a:latin typeface="Lato"/>
                <a:ea typeface="Lato"/>
                <a:cs typeface="Lato"/>
              </a:rPr>
              <a:t>Positive Outcomes aims to provide the highest level of care, treatment, and guidance for children living with autism spectrum disorder. Our purpose is to bring about meaningful changes in the lives of our clients in meeting and overcoming everyday challenges while also serving as a rich resource for the families we support.</a:t>
            </a:r>
            <a:endParaRPr lang="en-US" sz="1200" dirty="0"/>
          </a:p>
        </p:txBody>
      </p:sp>
      <p:sp>
        <p:nvSpPr>
          <p:cNvPr id="13" name="TextBox 12">
            <a:extLst>
              <a:ext uri="{FF2B5EF4-FFF2-40B4-BE49-F238E27FC236}">
                <a16:creationId xmlns:a16="http://schemas.microsoft.com/office/drawing/2014/main" id="{BFD6227F-B3E0-80FA-1CB9-8B0CB91C08BC}"/>
              </a:ext>
            </a:extLst>
          </p:cNvPr>
          <p:cNvSpPr txBox="1"/>
          <p:nvPr/>
        </p:nvSpPr>
        <p:spPr>
          <a:xfrm>
            <a:off x="3514634" y="2568012"/>
            <a:ext cx="2057400" cy="346249"/>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n-US" dirty="0">
                <a:solidFill>
                  <a:srgbClr val="2F77B8"/>
                </a:solidFill>
              </a:rPr>
              <a:t>Meet the BCBA</a:t>
            </a:r>
          </a:p>
        </p:txBody>
      </p:sp>
      <p:sp>
        <p:nvSpPr>
          <p:cNvPr id="14" name="TextBox 13">
            <a:extLst>
              <a:ext uri="{FF2B5EF4-FFF2-40B4-BE49-F238E27FC236}">
                <a16:creationId xmlns:a16="http://schemas.microsoft.com/office/drawing/2014/main" id="{C66861C3-6073-FEB9-D251-B1E3B31FEBBD}"/>
              </a:ext>
            </a:extLst>
          </p:cNvPr>
          <p:cNvSpPr txBox="1"/>
          <p:nvPr/>
        </p:nvSpPr>
        <p:spPr>
          <a:xfrm>
            <a:off x="3781859" y="2849570"/>
            <a:ext cx="5265008" cy="4511491"/>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a:spcBef>
                <a:spcPts val="0"/>
              </a:spcBef>
              <a:spcAft>
                <a:spcPts val="800"/>
              </a:spcAft>
            </a:pPr>
            <a:r>
              <a:rPr lang="en-US" sz="1200" i="1" dirty="0">
                <a:effectLst/>
                <a:latin typeface="Lato" panose="020F0502020204030203" pitchFamily="34" charset="0"/>
                <a:ea typeface="Lato" panose="020F0502020204030203" pitchFamily="34" charset="0"/>
                <a:cs typeface="Lato" panose="020F0502020204030203" pitchFamily="34" charset="0"/>
              </a:rPr>
              <a:t>I made a career change to Applied Behavior Analysis (ABA) in 2014 after having  worked with various adolescent and adult populations. By the time I encountered them, the time for intervention was largely gone. Their future was somewhat cemented. When given the opportunity to change career focus, I was determined to work with young children and intervene earlier. If a child could have an adult advocate for them or received services early to address skill deficits and/or maladaptive behaviors, the outcome for a successful childhood and adulthood could have been possible. So, on January  1, 2015 I opened Positive Outcomes to focus on children ages 3-13 who may be on the Autism Spectrum but may also have related disorders such as ADHD, developmental delays, ODD, fetal alcohol syndrome, or sensory and language disorders. I also work with the Department of Children and Family Services to help children in the foster care system who may have behaviors that cause foster placement changes or may interfere with the adoption process. Positive Outcomes is my passion. Special needs children often do not get all the services they can and often it is a matter of knowing what services are available. ABA is a relatively new field, and many caregivers are not aware of its ability to address skills deficits and behavioral issues. I  welcome the opportunity to do this webinar to educate caregivers and medical staff on what ABA can do to help children have a more successful childhood and adulthood.   </a:t>
            </a:r>
            <a:r>
              <a:rPr lang="en-US" sz="1200" b="1" i="1" dirty="0">
                <a:effectLst/>
                <a:latin typeface="Lato" panose="020F0502020204030203" pitchFamily="34" charset="0"/>
                <a:ea typeface="Lato" panose="020F0502020204030203" pitchFamily="34" charset="0"/>
                <a:cs typeface="Lato" panose="020F0502020204030203" pitchFamily="34" charset="0"/>
              </a:rPr>
              <a:t> </a:t>
            </a:r>
            <a:r>
              <a:rPr lang="en-US" sz="1800" dirty="0">
                <a:effectLst/>
                <a:latin typeface="Aptos" panose="020B0004020202020204" pitchFamily="34" charset="0"/>
              </a:rPr>
              <a:t>  </a:t>
            </a:r>
          </a:p>
          <a:p>
            <a:br>
              <a:rPr lang="en-US" sz="1200" dirty="0">
                <a:effectLst/>
              </a:rPr>
            </a:br>
            <a:endParaRPr lang="en-US" sz="1200" dirty="0">
              <a:effectLst/>
            </a:endParaRPr>
          </a:p>
        </p:txBody>
      </p:sp>
      <p:pic>
        <p:nvPicPr>
          <p:cNvPr id="4" name="Picture 3">
            <a:extLst>
              <a:ext uri="{FF2B5EF4-FFF2-40B4-BE49-F238E27FC236}">
                <a16:creationId xmlns:a16="http://schemas.microsoft.com/office/drawing/2014/main" id="{C2E69543-5691-9612-1A9E-D73A50532511}"/>
              </a:ext>
            </a:extLst>
          </p:cNvPr>
          <p:cNvPicPr>
            <a:picLocks noChangeAspect="1"/>
          </p:cNvPicPr>
          <p:nvPr/>
        </p:nvPicPr>
        <p:blipFill>
          <a:blip r:embed="rId8"/>
          <a:srcRect/>
          <a:stretch/>
        </p:blipFill>
        <p:spPr>
          <a:xfrm rot="5400000">
            <a:off x="1299941" y="3660556"/>
            <a:ext cx="2697298" cy="2091981"/>
          </a:xfrm>
          <a:custGeom>
            <a:avLst/>
            <a:gdLst/>
            <a:ahLst/>
            <a:cxnLst/>
            <a:rect l="l" t="t" r="r" b="b"/>
            <a:pathLst>
              <a:path w="2663168" h="2663168">
                <a:moveTo>
                  <a:pt x="1331584" y="0"/>
                </a:moveTo>
                <a:cubicBezTo>
                  <a:pt x="2066998" y="0"/>
                  <a:pt x="2663168" y="596170"/>
                  <a:pt x="2663168" y="1331584"/>
                </a:cubicBezTo>
                <a:cubicBezTo>
                  <a:pt x="2663168" y="2066998"/>
                  <a:pt x="2066998" y="2663168"/>
                  <a:pt x="1331584" y="2663168"/>
                </a:cubicBezTo>
                <a:cubicBezTo>
                  <a:pt x="596170" y="2663168"/>
                  <a:pt x="0" y="2066998"/>
                  <a:pt x="0" y="1331584"/>
                </a:cubicBezTo>
                <a:cubicBezTo>
                  <a:pt x="0" y="596170"/>
                  <a:pt x="596170" y="0"/>
                  <a:pt x="1331584" y="0"/>
                </a:cubicBezTo>
                <a:close/>
              </a:path>
            </a:pathLst>
          </a:custGeom>
          <a:ln>
            <a:solidFill>
              <a:schemeClr val="tx1"/>
            </a:solidFill>
          </a:ln>
        </p:spPr>
      </p:pic>
    </p:spTree>
    <p:extLst>
      <p:ext uri="{BB962C8B-B14F-4D97-AF65-F5344CB8AC3E}">
        <p14:creationId xmlns:p14="http://schemas.microsoft.com/office/powerpoint/2010/main" val="10961763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76250" y="640823"/>
            <a:ext cx="2563994" cy="5583148"/>
          </a:xfrm>
        </p:spPr>
        <p:txBody>
          <a:bodyPr anchor="ctr">
            <a:normAutofit/>
          </a:bodyPr>
          <a:lstStyle/>
          <a:p>
            <a:r>
              <a:rPr lang="en-US" sz="4700"/>
              <a:t>What Is Autism?</a:t>
            </a:r>
          </a:p>
        </p:txBody>
      </p:sp>
      <p:sp>
        <p:nvSpPr>
          <p:cNvPr id="11"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44313" y="3465005"/>
            <a:ext cx="5410200" cy="13716"/>
          </a:xfrm>
          <a:custGeom>
            <a:avLst/>
            <a:gdLst>
              <a:gd name="connsiteX0" fmla="*/ 0 w 5410200"/>
              <a:gd name="connsiteY0" fmla="*/ 0 h 13716"/>
              <a:gd name="connsiteX1" fmla="*/ 568071 w 5410200"/>
              <a:gd name="connsiteY1" fmla="*/ 0 h 13716"/>
              <a:gd name="connsiteX2" fmla="*/ 1298448 w 5410200"/>
              <a:gd name="connsiteY2" fmla="*/ 0 h 13716"/>
              <a:gd name="connsiteX3" fmla="*/ 1920621 w 5410200"/>
              <a:gd name="connsiteY3" fmla="*/ 0 h 13716"/>
              <a:gd name="connsiteX4" fmla="*/ 2488692 w 5410200"/>
              <a:gd name="connsiteY4" fmla="*/ 0 h 13716"/>
              <a:gd name="connsiteX5" fmla="*/ 3219069 w 5410200"/>
              <a:gd name="connsiteY5" fmla="*/ 0 h 13716"/>
              <a:gd name="connsiteX6" fmla="*/ 3895344 w 5410200"/>
              <a:gd name="connsiteY6" fmla="*/ 0 h 13716"/>
              <a:gd name="connsiteX7" fmla="*/ 4571619 w 5410200"/>
              <a:gd name="connsiteY7" fmla="*/ 0 h 13716"/>
              <a:gd name="connsiteX8" fmla="*/ 5410200 w 5410200"/>
              <a:gd name="connsiteY8" fmla="*/ 0 h 13716"/>
              <a:gd name="connsiteX9" fmla="*/ 5410200 w 5410200"/>
              <a:gd name="connsiteY9" fmla="*/ 13716 h 13716"/>
              <a:gd name="connsiteX10" fmla="*/ 4842129 w 5410200"/>
              <a:gd name="connsiteY10" fmla="*/ 13716 h 13716"/>
              <a:gd name="connsiteX11" fmla="*/ 4328160 w 5410200"/>
              <a:gd name="connsiteY11" fmla="*/ 13716 h 13716"/>
              <a:gd name="connsiteX12" fmla="*/ 3597783 w 5410200"/>
              <a:gd name="connsiteY12" fmla="*/ 13716 h 13716"/>
              <a:gd name="connsiteX13" fmla="*/ 3029712 w 5410200"/>
              <a:gd name="connsiteY13" fmla="*/ 13716 h 13716"/>
              <a:gd name="connsiteX14" fmla="*/ 2299335 w 5410200"/>
              <a:gd name="connsiteY14" fmla="*/ 13716 h 13716"/>
              <a:gd name="connsiteX15" fmla="*/ 1514856 w 5410200"/>
              <a:gd name="connsiteY15" fmla="*/ 13716 h 13716"/>
              <a:gd name="connsiteX16" fmla="*/ 892683 w 5410200"/>
              <a:gd name="connsiteY16" fmla="*/ 13716 h 13716"/>
              <a:gd name="connsiteX17" fmla="*/ 0 w 5410200"/>
              <a:gd name="connsiteY17" fmla="*/ 13716 h 13716"/>
              <a:gd name="connsiteX18" fmla="*/ 0 w 5410200"/>
              <a:gd name="connsiteY18"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3716"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09587" y="2854"/>
                  <a:pt x="5409791" y="9451"/>
                  <a:pt x="5410200" y="13716"/>
                </a:cubicBezTo>
                <a:cubicBezTo>
                  <a:pt x="5139060" y="2179"/>
                  <a:pt x="5121593" y="26463"/>
                  <a:pt x="4842129" y="13716"/>
                </a:cubicBezTo>
                <a:cubicBezTo>
                  <a:pt x="4562665" y="969"/>
                  <a:pt x="4448273" y="4915"/>
                  <a:pt x="4328160" y="13716"/>
                </a:cubicBezTo>
                <a:cubicBezTo>
                  <a:pt x="4208047" y="22517"/>
                  <a:pt x="3760936" y="17995"/>
                  <a:pt x="3597783" y="13716"/>
                </a:cubicBezTo>
                <a:cubicBezTo>
                  <a:pt x="3434630" y="9437"/>
                  <a:pt x="3299718" y="28641"/>
                  <a:pt x="3029712" y="13716"/>
                </a:cubicBezTo>
                <a:cubicBezTo>
                  <a:pt x="2759706" y="-1209"/>
                  <a:pt x="2640159" y="22822"/>
                  <a:pt x="2299335" y="13716"/>
                </a:cubicBezTo>
                <a:cubicBezTo>
                  <a:pt x="1958511" y="4610"/>
                  <a:pt x="1801186" y="24413"/>
                  <a:pt x="1514856" y="13716"/>
                </a:cubicBezTo>
                <a:cubicBezTo>
                  <a:pt x="1228526" y="3019"/>
                  <a:pt x="1063509" y="-9877"/>
                  <a:pt x="892683" y="13716"/>
                </a:cubicBezTo>
                <a:cubicBezTo>
                  <a:pt x="721857" y="37309"/>
                  <a:pt x="186945" y="-25469"/>
                  <a:pt x="0" y="13716"/>
                </a:cubicBezTo>
                <a:cubicBezTo>
                  <a:pt x="-342" y="9537"/>
                  <a:pt x="-97" y="6817"/>
                  <a:pt x="0" y="0"/>
                </a:cubicBezTo>
                <a:close/>
              </a:path>
              <a:path w="5410200" h="13716"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10660" y="2787"/>
                  <a:pt x="5410166" y="9748"/>
                  <a:pt x="5410200" y="13716"/>
                </a:cubicBezTo>
                <a:cubicBezTo>
                  <a:pt x="5163327" y="36922"/>
                  <a:pt x="5008749" y="6121"/>
                  <a:pt x="4842129" y="13716"/>
                </a:cubicBezTo>
                <a:cubicBezTo>
                  <a:pt x="4675509" y="21311"/>
                  <a:pt x="4433401" y="-5187"/>
                  <a:pt x="4165854" y="13716"/>
                </a:cubicBezTo>
                <a:cubicBezTo>
                  <a:pt x="3898308" y="32619"/>
                  <a:pt x="3809032" y="-13282"/>
                  <a:pt x="3543681" y="13716"/>
                </a:cubicBezTo>
                <a:cubicBezTo>
                  <a:pt x="3278330" y="40714"/>
                  <a:pt x="3073876" y="-20489"/>
                  <a:pt x="2759202" y="13716"/>
                </a:cubicBezTo>
                <a:cubicBezTo>
                  <a:pt x="2444528" y="47921"/>
                  <a:pt x="2204144" y="-1200"/>
                  <a:pt x="1974723" y="13716"/>
                </a:cubicBezTo>
                <a:cubicBezTo>
                  <a:pt x="1745302" y="28632"/>
                  <a:pt x="1602335" y="26918"/>
                  <a:pt x="1406652" y="13716"/>
                </a:cubicBezTo>
                <a:cubicBezTo>
                  <a:pt x="1210969" y="514"/>
                  <a:pt x="923948" y="-1411"/>
                  <a:pt x="730377" y="13716"/>
                </a:cubicBezTo>
                <a:cubicBezTo>
                  <a:pt x="536806" y="28843"/>
                  <a:pt x="336496" y="-4713"/>
                  <a:pt x="0" y="13716"/>
                </a:cubicBezTo>
                <a:cubicBezTo>
                  <a:pt x="-535" y="9547"/>
                  <a:pt x="488" y="451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2">
            <a:extLst>
              <a:ext uri="{FF2B5EF4-FFF2-40B4-BE49-F238E27FC236}">
                <a16:creationId xmlns:a16="http://schemas.microsoft.com/office/drawing/2014/main" id="{062524EA-0AAC-E842-818C-DAF9C9B0CC90}"/>
              </a:ext>
            </a:extLst>
          </p:cNvPr>
          <p:cNvGraphicFramePr>
            <a:graphicFrameLocks noGrp="1"/>
          </p:cNvGraphicFramePr>
          <p:nvPr>
            <p:ph idx="1"/>
            <p:extLst>
              <p:ext uri="{D42A27DB-BD31-4B8C-83A1-F6EECF244321}">
                <p14:modId xmlns:p14="http://schemas.microsoft.com/office/powerpoint/2010/main" val="1836046996"/>
              </p:ext>
            </p:extLst>
          </p:nvPr>
        </p:nvGraphicFramePr>
        <p:xfrm>
          <a:off x="3486013" y="640822"/>
          <a:ext cx="5175384" cy="5536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0436EB3-0AB3-4FB3-919A-A89C61E85502}"/>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9" name="Object 8" hidden="1">
                        <a:extLst>
                          <a:ext uri="{FF2B5EF4-FFF2-40B4-BE49-F238E27FC236}">
                            <a16:creationId xmlns:a16="http://schemas.microsoft.com/office/drawing/2014/main" id="{30436EB3-0AB3-4FB3-919A-A89C61E85502}"/>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7194" name="Rectangle 7193" hidden="1">
            <a:extLst>
              <a:ext uri="{FF2B5EF4-FFF2-40B4-BE49-F238E27FC236}">
                <a16:creationId xmlns:a16="http://schemas.microsoft.com/office/drawing/2014/main" id="{CD43309C-5D2A-4E3C-93CE-79CCF090DD84}"/>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700" dirty="0">
              <a:latin typeface="Segoe UI Semibold" panose="020B0702040204020203" pitchFamily="34" charset="0"/>
              <a:ea typeface="+mj-ea"/>
              <a:cs typeface="+mj-cs"/>
              <a:sym typeface="Segoe UI Semibold" panose="020B0702040204020203" pitchFamily="34" charset="0"/>
            </a:endParaRPr>
          </a:p>
        </p:txBody>
      </p:sp>
      <p:pic>
        <p:nvPicPr>
          <p:cNvPr id="7192" name="Picture 7191">
            <a:extLst>
              <a:ext uri="{FF2B5EF4-FFF2-40B4-BE49-F238E27FC236}">
                <a16:creationId xmlns:a16="http://schemas.microsoft.com/office/drawing/2014/main" id="{2AA7A42C-3164-4325-8FBD-200424B699CE}"/>
              </a:ext>
            </a:extLst>
          </p:cNvPr>
          <p:cNvPicPr>
            <a:picLocks noChangeAspect="1"/>
          </p:cNvPicPr>
          <p:nvPr/>
        </p:nvPicPr>
        <p:blipFill rotWithShape="1">
          <a:blip r:embed="rId7">
            <a:grayscl/>
            <a:extLst>
              <a:ext uri="{28A0092B-C50C-407E-A947-70E740481C1C}">
                <a14:useLocalDpi xmlns:a14="http://schemas.microsoft.com/office/drawing/2010/main" val="0"/>
              </a:ext>
            </a:extLst>
          </a:blip>
          <a:srcRect b="15625"/>
          <a:stretch/>
        </p:blipFill>
        <p:spPr>
          <a:xfrm>
            <a:off x="0" y="857250"/>
            <a:ext cx="9144000" cy="5143500"/>
          </a:xfrm>
          <a:prstGeom prst="rect">
            <a:avLst/>
          </a:prstGeom>
        </p:spPr>
      </p:pic>
      <p:sp>
        <p:nvSpPr>
          <p:cNvPr id="102" name="Rectangle 101">
            <a:extLst>
              <a:ext uri="{FF2B5EF4-FFF2-40B4-BE49-F238E27FC236}">
                <a16:creationId xmlns:a16="http://schemas.microsoft.com/office/drawing/2014/main" id="{56B0440D-699C-4C0B-A504-EDE0CDE42B3E}"/>
              </a:ext>
            </a:extLst>
          </p:cNvPr>
          <p:cNvSpPr/>
          <p:nvPr/>
        </p:nvSpPr>
        <p:spPr>
          <a:xfrm>
            <a:off x="0" y="857249"/>
            <a:ext cx="9143997" cy="5143500"/>
          </a:xfrm>
          <a:prstGeom prst="rect">
            <a:avLst/>
          </a:prstGeom>
          <a:gradFill>
            <a:gsLst>
              <a:gs pos="89000">
                <a:schemeClr val="bg1">
                  <a:alpha val="53000"/>
                </a:schemeClr>
              </a:gs>
              <a:gs pos="13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3B07C7EF-4701-4840-8F81-9758819D6BBD}"/>
              </a:ext>
            </a:extLst>
          </p:cNvPr>
          <p:cNvSpPr>
            <a:spLocks noGrp="1"/>
          </p:cNvSpPr>
          <p:nvPr>
            <p:ph type="title"/>
          </p:nvPr>
        </p:nvSpPr>
        <p:spPr>
          <a:xfrm>
            <a:off x="628650" y="1060138"/>
            <a:ext cx="7886700" cy="373949"/>
          </a:xfrm>
        </p:spPr>
        <p:txBody>
          <a:bodyPr>
            <a:normAutofit fontScale="90000"/>
          </a:bodyPr>
          <a:lstStyle/>
          <a:p>
            <a:r>
              <a:rPr lang="en-US" dirty="0"/>
              <a:t>AUTISM SPECTRUM DISORDER</a:t>
            </a:r>
          </a:p>
        </p:txBody>
      </p:sp>
      <p:cxnSp>
        <p:nvCxnSpPr>
          <p:cNvPr id="68" name="Straight Connector 67">
            <a:extLst>
              <a:ext uri="{FF2B5EF4-FFF2-40B4-BE49-F238E27FC236}">
                <a16:creationId xmlns:a16="http://schemas.microsoft.com/office/drawing/2014/main" id="{A239866E-A6A0-4944-B8A3-6EF6FD64BEC7}"/>
              </a:ext>
            </a:extLst>
          </p:cNvPr>
          <p:cNvCxnSpPr/>
          <p:nvPr/>
        </p:nvCxnSpPr>
        <p:spPr>
          <a:xfrm>
            <a:off x="2352446" y="3587119"/>
            <a:ext cx="0" cy="1602939"/>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F73F87B-DCFF-4FB2-8763-7222FDE8E6D9}"/>
              </a:ext>
            </a:extLst>
          </p:cNvPr>
          <p:cNvCxnSpPr/>
          <p:nvPr/>
        </p:nvCxnSpPr>
        <p:spPr>
          <a:xfrm>
            <a:off x="4572001" y="3587119"/>
            <a:ext cx="0" cy="1602939"/>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5844447-D72E-4F5F-B68A-CF1DDDA77D5B}"/>
              </a:ext>
            </a:extLst>
          </p:cNvPr>
          <p:cNvCxnSpPr/>
          <p:nvPr/>
        </p:nvCxnSpPr>
        <p:spPr>
          <a:xfrm>
            <a:off x="6791556" y="3587119"/>
            <a:ext cx="0" cy="1602939"/>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79" name="Freeform 44">
            <a:extLst>
              <a:ext uri="{FF2B5EF4-FFF2-40B4-BE49-F238E27FC236}">
                <a16:creationId xmlns:a16="http://schemas.microsoft.com/office/drawing/2014/main" id="{912628EF-BDAF-4F35-B41F-E6B1E51D1C0F}"/>
              </a:ext>
            </a:extLst>
          </p:cNvPr>
          <p:cNvSpPr>
            <a:spLocks/>
          </p:cNvSpPr>
          <p:nvPr/>
        </p:nvSpPr>
        <p:spPr bwMode="auto">
          <a:xfrm>
            <a:off x="2827869" y="1437111"/>
            <a:ext cx="1917997" cy="1902211"/>
          </a:xfrm>
          <a:custGeom>
            <a:avLst/>
            <a:gdLst>
              <a:gd name="T0" fmla="*/ 415 w 514"/>
              <a:gd name="T1" fmla="*/ 106 h 511"/>
              <a:gd name="T2" fmla="*/ 405 w 514"/>
              <a:gd name="T3" fmla="*/ 96 h 511"/>
              <a:gd name="T4" fmla="*/ 244 w 514"/>
              <a:gd name="T5" fmla="*/ 96 h 511"/>
              <a:gd name="T6" fmla="*/ 234 w 514"/>
              <a:gd name="T7" fmla="*/ 86 h 511"/>
              <a:gd name="T8" fmla="*/ 234 w 514"/>
              <a:gd name="T9" fmla="*/ 86 h 511"/>
              <a:gd name="T10" fmla="*/ 240 w 514"/>
              <a:gd name="T11" fmla="*/ 68 h 511"/>
              <a:gd name="T12" fmla="*/ 250 w 514"/>
              <a:gd name="T13" fmla="*/ 42 h 511"/>
              <a:gd name="T14" fmla="*/ 207 w 514"/>
              <a:gd name="T15" fmla="*/ 0 h 511"/>
              <a:gd name="T16" fmla="*/ 165 w 514"/>
              <a:gd name="T17" fmla="*/ 42 h 511"/>
              <a:gd name="T18" fmla="*/ 175 w 514"/>
              <a:gd name="T19" fmla="*/ 68 h 511"/>
              <a:gd name="T20" fmla="*/ 181 w 514"/>
              <a:gd name="T21" fmla="*/ 86 h 511"/>
              <a:gd name="T22" fmla="*/ 181 w 514"/>
              <a:gd name="T23" fmla="*/ 86 h 511"/>
              <a:gd name="T24" fmla="*/ 171 w 514"/>
              <a:gd name="T25" fmla="*/ 96 h 511"/>
              <a:gd name="T26" fmla="*/ 10 w 514"/>
              <a:gd name="T27" fmla="*/ 96 h 511"/>
              <a:gd name="T28" fmla="*/ 0 w 514"/>
              <a:gd name="T29" fmla="*/ 106 h 511"/>
              <a:gd name="T30" fmla="*/ 0 w 514"/>
              <a:gd name="T31" fmla="*/ 267 h 511"/>
              <a:gd name="T32" fmla="*/ 10 w 514"/>
              <a:gd name="T33" fmla="*/ 278 h 511"/>
              <a:gd name="T34" fmla="*/ 12 w 514"/>
              <a:gd name="T35" fmla="*/ 278 h 511"/>
              <a:gd name="T36" fmla="*/ 30 w 514"/>
              <a:gd name="T37" fmla="*/ 271 h 511"/>
              <a:gd name="T38" fmla="*/ 55 w 514"/>
              <a:gd name="T39" fmla="*/ 261 h 511"/>
              <a:gd name="T40" fmla="*/ 98 w 514"/>
              <a:gd name="T41" fmla="*/ 304 h 511"/>
              <a:gd name="T42" fmla="*/ 55 w 514"/>
              <a:gd name="T43" fmla="*/ 346 h 511"/>
              <a:gd name="T44" fmla="*/ 30 w 514"/>
              <a:gd name="T45" fmla="*/ 336 h 511"/>
              <a:gd name="T46" fmla="*/ 12 w 514"/>
              <a:gd name="T47" fmla="*/ 330 h 511"/>
              <a:gd name="T48" fmla="*/ 10 w 514"/>
              <a:gd name="T49" fmla="*/ 330 h 511"/>
              <a:gd name="T50" fmla="*/ 0 w 514"/>
              <a:gd name="T51" fmla="*/ 340 h 511"/>
              <a:gd name="T52" fmla="*/ 0 w 514"/>
              <a:gd name="T53" fmla="*/ 501 h 511"/>
              <a:gd name="T54" fmla="*/ 10 w 514"/>
              <a:gd name="T55" fmla="*/ 511 h 511"/>
              <a:gd name="T56" fmla="*/ 129 w 514"/>
              <a:gd name="T57" fmla="*/ 511 h 511"/>
              <a:gd name="T58" fmla="*/ 129 w 514"/>
              <a:gd name="T59" fmla="*/ 511 h 511"/>
              <a:gd name="T60" fmla="*/ 130 w 514"/>
              <a:gd name="T61" fmla="*/ 511 h 511"/>
              <a:gd name="T62" fmla="*/ 171 w 514"/>
              <a:gd name="T63" fmla="*/ 511 h 511"/>
              <a:gd name="T64" fmla="*/ 171 w 514"/>
              <a:gd name="T65" fmla="*/ 511 h 511"/>
              <a:gd name="T66" fmla="*/ 316 w 514"/>
              <a:gd name="T67" fmla="*/ 511 h 511"/>
              <a:gd name="T68" fmla="*/ 316 w 514"/>
              <a:gd name="T69" fmla="*/ 511 h 511"/>
              <a:gd name="T70" fmla="*/ 405 w 514"/>
              <a:gd name="T71" fmla="*/ 511 h 511"/>
              <a:gd name="T72" fmla="*/ 415 w 514"/>
              <a:gd name="T73" fmla="*/ 501 h 511"/>
              <a:gd name="T74" fmla="*/ 415 w 514"/>
              <a:gd name="T75" fmla="*/ 340 h 511"/>
              <a:gd name="T76" fmla="*/ 425 w 514"/>
              <a:gd name="T77" fmla="*/ 330 h 511"/>
              <a:gd name="T78" fmla="*/ 428 w 514"/>
              <a:gd name="T79" fmla="*/ 330 h 511"/>
              <a:gd name="T80" fmla="*/ 446 w 514"/>
              <a:gd name="T81" fmla="*/ 336 h 511"/>
              <a:gd name="T82" fmla="*/ 471 w 514"/>
              <a:gd name="T83" fmla="*/ 346 h 511"/>
              <a:gd name="T84" fmla="*/ 514 w 514"/>
              <a:gd name="T85" fmla="*/ 304 h 511"/>
              <a:gd name="T86" fmla="*/ 471 w 514"/>
              <a:gd name="T87" fmla="*/ 261 h 511"/>
              <a:gd name="T88" fmla="*/ 446 w 514"/>
              <a:gd name="T89" fmla="*/ 271 h 511"/>
              <a:gd name="T90" fmla="*/ 428 w 514"/>
              <a:gd name="T91" fmla="*/ 278 h 511"/>
              <a:gd name="T92" fmla="*/ 425 w 514"/>
              <a:gd name="T93" fmla="*/ 278 h 511"/>
              <a:gd name="T94" fmla="*/ 415 w 514"/>
              <a:gd name="T95" fmla="*/ 267 h 511"/>
              <a:gd name="T96" fmla="*/ 415 w 514"/>
              <a:gd name="T97" fmla="*/ 10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4" h="511">
                <a:moveTo>
                  <a:pt x="415" y="106"/>
                </a:moveTo>
                <a:cubicBezTo>
                  <a:pt x="415" y="101"/>
                  <a:pt x="410" y="96"/>
                  <a:pt x="405" y="96"/>
                </a:cubicBezTo>
                <a:cubicBezTo>
                  <a:pt x="244" y="96"/>
                  <a:pt x="244" y="96"/>
                  <a:pt x="244" y="96"/>
                </a:cubicBezTo>
                <a:cubicBezTo>
                  <a:pt x="238" y="96"/>
                  <a:pt x="234" y="92"/>
                  <a:pt x="234" y="86"/>
                </a:cubicBezTo>
                <a:cubicBezTo>
                  <a:pt x="234" y="86"/>
                  <a:pt x="234" y="86"/>
                  <a:pt x="234" y="86"/>
                </a:cubicBezTo>
                <a:cubicBezTo>
                  <a:pt x="234" y="80"/>
                  <a:pt x="236" y="72"/>
                  <a:pt x="240" y="68"/>
                </a:cubicBezTo>
                <a:cubicBezTo>
                  <a:pt x="240" y="68"/>
                  <a:pt x="250" y="56"/>
                  <a:pt x="250" y="42"/>
                </a:cubicBezTo>
                <a:cubicBezTo>
                  <a:pt x="250" y="19"/>
                  <a:pt x="231" y="0"/>
                  <a:pt x="207" y="0"/>
                </a:cubicBezTo>
                <a:cubicBezTo>
                  <a:pt x="184" y="0"/>
                  <a:pt x="165" y="19"/>
                  <a:pt x="165" y="42"/>
                </a:cubicBezTo>
                <a:cubicBezTo>
                  <a:pt x="165" y="56"/>
                  <a:pt x="175" y="68"/>
                  <a:pt x="175" y="68"/>
                </a:cubicBezTo>
                <a:cubicBezTo>
                  <a:pt x="178" y="72"/>
                  <a:pt x="181" y="80"/>
                  <a:pt x="181" y="86"/>
                </a:cubicBezTo>
                <a:cubicBezTo>
                  <a:pt x="181" y="86"/>
                  <a:pt x="181" y="86"/>
                  <a:pt x="181" y="86"/>
                </a:cubicBezTo>
                <a:cubicBezTo>
                  <a:pt x="181" y="92"/>
                  <a:pt x="177" y="96"/>
                  <a:pt x="171" y="96"/>
                </a:cubicBezTo>
                <a:cubicBezTo>
                  <a:pt x="10" y="96"/>
                  <a:pt x="10" y="96"/>
                  <a:pt x="10" y="96"/>
                </a:cubicBezTo>
                <a:cubicBezTo>
                  <a:pt x="5" y="96"/>
                  <a:pt x="0" y="101"/>
                  <a:pt x="0" y="106"/>
                </a:cubicBezTo>
                <a:cubicBezTo>
                  <a:pt x="0" y="267"/>
                  <a:pt x="0" y="267"/>
                  <a:pt x="0" y="267"/>
                </a:cubicBezTo>
                <a:cubicBezTo>
                  <a:pt x="0" y="273"/>
                  <a:pt x="5" y="278"/>
                  <a:pt x="10" y="278"/>
                </a:cubicBezTo>
                <a:cubicBezTo>
                  <a:pt x="12" y="278"/>
                  <a:pt x="12" y="278"/>
                  <a:pt x="12" y="278"/>
                </a:cubicBezTo>
                <a:cubicBezTo>
                  <a:pt x="17" y="278"/>
                  <a:pt x="26" y="275"/>
                  <a:pt x="30" y="271"/>
                </a:cubicBezTo>
                <a:cubicBezTo>
                  <a:pt x="30" y="271"/>
                  <a:pt x="42" y="261"/>
                  <a:pt x="55" y="261"/>
                </a:cubicBezTo>
                <a:cubicBezTo>
                  <a:pt x="79" y="261"/>
                  <a:pt x="98" y="280"/>
                  <a:pt x="98" y="304"/>
                </a:cubicBezTo>
                <a:cubicBezTo>
                  <a:pt x="98" y="327"/>
                  <a:pt x="79" y="346"/>
                  <a:pt x="55" y="346"/>
                </a:cubicBezTo>
                <a:cubicBezTo>
                  <a:pt x="42" y="346"/>
                  <a:pt x="30" y="336"/>
                  <a:pt x="30" y="336"/>
                </a:cubicBezTo>
                <a:cubicBezTo>
                  <a:pt x="26" y="333"/>
                  <a:pt x="17" y="330"/>
                  <a:pt x="12" y="330"/>
                </a:cubicBezTo>
                <a:cubicBezTo>
                  <a:pt x="10" y="330"/>
                  <a:pt x="10" y="330"/>
                  <a:pt x="10" y="330"/>
                </a:cubicBezTo>
                <a:cubicBezTo>
                  <a:pt x="5" y="330"/>
                  <a:pt x="0" y="334"/>
                  <a:pt x="0" y="340"/>
                </a:cubicBezTo>
                <a:cubicBezTo>
                  <a:pt x="0" y="501"/>
                  <a:pt x="0" y="501"/>
                  <a:pt x="0" y="501"/>
                </a:cubicBezTo>
                <a:cubicBezTo>
                  <a:pt x="0" y="507"/>
                  <a:pt x="5" y="511"/>
                  <a:pt x="10" y="511"/>
                </a:cubicBezTo>
                <a:cubicBezTo>
                  <a:pt x="129" y="511"/>
                  <a:pt x="129" y="511"/>
                  <a:pt x="129" y="511"/>
                </a:cubicBezTo>
                <a:cubicBezTo>
                  <a:pt x="129" y="511"/>
                  <a:pt x="129" y="511"/>
                  <a:pt x="129" y="511"/>
                </a:cubicBezTo>
                <a:cubicBezTo>
                  <a:pt x="130" y="511"/>
                  <a:pt x="130" y="511"/>
                  <a:pt x="130" y="511"/>
                </a:cubicBezTo>
                <a:cubicBezTo>
                  <a:pt x="171" y="511"/>
                  <a:pt x="171" y="511"/>
                  <a:pt x="171" y="511"/>
                </a:cubicBezTo>
                <a:cubicBezTo>
                  <a:pt x="171" y="511"/>
                  <a:pt x="171" y="511"/>
                  <a:pt x="171" y="511"/>
                </a:cubicBezTo>
                <a:cubicBezTo>
                  <a:pt x="316" y="511"/>
                  <a:pt x="316" y="511"/>
                  <a:pt x="316" y="511"/>
                </a:cubicBezTo>
                <a:cubicBezTo>
                  <a:pt x="316" y="511"/>
                  <a:pt x="316" y="511"/>
                  <a:pt x="316" y="511"/>
                </a:cubicBezTo>
                <a:cubicBezTo>
                  <a:pt x="405" y="511"/>
                  <a:pt x="405" y="511"/>
                  <a:pt x="405" y="511"/>
                </a:cubicBezTo>
                <a:cubicBezTo>
                  <a:pt x="410" y="511"/>
                  <a:pt x="415" y="507"/>
                  <a:pt x="415" y="501"/>
                </a:cubicBezTo>
                <a:cubicBezTo>
                  <a:pt x="415" y="340"/>
                  <a:pt x="415" y="340"/>
                  <a:pt x="415" y="340"/>
                </a:cubicBezTo>
                <a:cubicBezTo>
                  <a:pt x="415" y="334"/>
                  <a:pt x="419" y="330"/>
                  <a:pt x="425" y="330"/>
                </a:cubicBezTo>
                <a:cubicBezTo>
                  <a:pt x="428" y="330"/>
                  <a:pt x="428" y="330"/>
                  <a:pt x="428" y="330"/>
                </a:cubicBezTo>
                <a:cubicBezTo>
                  <a:pt x="433" y="330"/>
                  <a:pt x="442" y="333"/>
                  <a:pt x="446" y="336"/>
                </a:cubicBezTo>
                <a:cubicBezTo>
                  <a:pt x="446" y="336"/>
                  <a:pt x="458" y="346"/>
                  <a:pt x="471" y="346"/>
                </a:cubicBezTo>
                <a:cubicBezTo>
                  <a:pt x="495" y="346"/>
                  <a:pt x="514" y="327"/>
                  <a:pt x="514" y="304"/>
                </a:cubicBezTo>
                <a:cubicBezTo>
                  <a:pt x="514" y="280"/>
                  <a:pt x="495" y="261"/>
                  <a:pt x="471" y="261"/>
                </a:cubicBezTo>
                <a:cubicBezTo>
                  <a:pt x="458" y="261"/>
                  <a:pt x="446" y="271"/>
                  <a:pt x="446" y="271"/>
                </a:cubicBezTo>
                <a:cubicBezTo>
                  <a:pt x="442" y="275"/>
                  <a:pt x="433" y="278"/>
                  <a:pt x="428" y="278"/>
                </a:cubicBezTo>
                <a:cubicBezTo>
                  <a:pt x="425" y="278"/>
                  <a:pt x="425" y="278"/>
                  <a:pt x="425" y="278"/>
                </a:cubicBezTo>
                <a:cubicBezTo>
                  <a:pt x="419" y="278"/>
                  <a:pt x="415" y="273"/>
                  <a:pt x="415" y="267"/>
                </a:cubicBezTo>
                <a:lnTo>
                  <a:pt x="415" y="106"/>
                </a:lnTo>
                <a:close/>
              </a:path>
            </a:pathLst>
          </a:custGeom>
          <a:solidFill>
            <a:schemeClr val="accent1">
              <a:lumMod val="60000"/>
              <a:lumOff val="40000"/>
              <a:alpha val="80000"/>
            </a:schemeClr>
          </a:solidFill>
          <a:ln>
            <a:noFill/>
          </a:ln>
          <a:effectLst>
            <a:innerShdw blurRad="63500" dist="50800" dir="16200000">
              <a:prstClr val="black">
                <a:alpha val="20000"/>
              </a:prstClr>
            </a:innerShdw>
          </a:effectLst>
        </p:spPr>
        <p:txBody>
          <a:bodyPr vert="horz" wrap="square" lIns="68580" tIns="34290" rIns="68580" bIns="34290" numCol="1" anchor="t" anchorCtr="0" compatLnSpc="1">
            <a:prstTxWarp prst="textNoShape">
              <a:avLst/>
            </a:prstTxWarp>
          </a:bodyPr>
          <a:lstStyle/>
          <a:p>
            <a:endParaRPr lang="en-US" sz="1350"/>
          </a:p>
        </p:txBody>
      </p:sp>
      <p:sp>
        <p:nvSpPr>
          <p:cNvPr id="81" name="Freeform 44">
            <a:extLst>
              <a:ext uri="{FF2B5EF4-FFF2-40B4-BE49-F238E27FC236}">
                <a16:creationId xmlns:a16="http://schemas.microsoft.com/office/drawing/2014/main" id="{50C3FD10-057B-4262-882C-98CFB05BDBF4}"/>
              </a:ext>
            </a:extLst>
          </p:cNvPr>
          <p:cNvSpPr>
            <a:spLocks/>
          </p:cNvSpPr>
          <p:nvPr/>
        </p:nvSpPr>
        <p:spPr bwMode="auto">
          <a:xfrm>
            <a:off x="4359715" y="1437111"/>
            <a:ext cx="1917997" cy="1902211"/>
          </a:xfrm>
          <a:custGeom>
            <a:avLst/>
            <a:gdLst>
              <a:gd name="T0" fmla="*/ 415 w 514"/>
              <a:gd name="T1" fmla="*/ 106 h 511"/>
              <a:gd name="T2" fmla="*/ 405 w 514"/>
              <a:gd name="T3" fmla="*/ 96 h 511"/>
              <a:gd name="T4" fmla="*/ 244 w 514"/>
              <a:gd name="T5" fmla="*/ 96 h 511"/>
              <a:gd name="T6" fmla="*/ 234 w 514"/>
              <a:gd name="T7" fmla="*/ 86 h 511"/>
              <a:gd name="T8" fmla="*/ 234 w 514"/>
              <a:gd name="T9" fmla="*/ 86 h 511"/>
              <a:gd name="T10" fmla="*/ 240 w 514"/>
              <a:gd name="T11" fmla="*/ 68 h 511"/>
              <a:gd name="T12" fmla="*/ 250 w 514"/>
              <a:gd name="T13" fmla="*/ 42 h 511"/>
              <a:gd name="T14" fmla="*/ 207 w 514"/>
              <a:gd name="T15" fmla="*/ 0 h 511"/>
              <a:gd name="T16" fmla="*/ 165 w 514"/>
              <a:gd name="T17" fmla="*/ 42 h 511"/>
              <a:gd name="T18" fmla="*/ 175 w 514"/>
              <a:gd name="T19" fmla="*/ 68 h 511"/>
              <a:gd name="T20" fmla="*/ 181 w 514"/>
              <a:gd name="T21" fmla="*/ 86 h 511"/>
              <a:gd name="T22" fmla="*/ 181 w 514"/>
              <a:gd name="T23" fmla="*/ 86 h 511"/>
              <a:gd name="T24" fmla="*/ 171 w 514"/>
              <a:gd name="T25" fmla="*/ 96 h 511"/>
              <a:gd name="T26" fmla="*/ 10 w 514"/>
              <a:gd name="T27" fmla="*/ 96 h 511"/>
              <a:gd name="T28" fmla="*/ 0 w 514"/>
              <a:gd name="T29" fmla="*/ 106 h 511"/>
              <a:gd name="T30" fmla="*/ 0 w 514"/>
              <a:gd name="T31" fmla="*/ 267 h 511"/>
              <a:gd name="T32" fmla="*/ 10 w 514"/>
              <a:gd name="T33" fmla="*/ 278 h 511"/>
              <a:gd name="T34" fmla="*/ 12 w 514"/>
              <a:gd name="T35" fmla="*/ 278 h 511"/>
              <a:gd name="T36" fmla="*/ 30 w 514"/>
              <a:gd name="T37" fmla="*/ 271 h 511"/>
              <a:gd name="T38" fmla="*/ 55 w 514"/>
              <a:gd name="T39" fmla="*/ 261 h 511"/>
              <a:gd name="T40" fmla="*/ 98 w 514"/>
              <a:gd name="T41" fmla="*/ 304 h 511"/>
              <a:gd name="T42" fmla="*/ 55 w 514"/>
              <a:gd name="T43" fmla="*/ 346 h 511"/>
              <a:gd name="T44" fmla="*/ 30 w 514"/>
              <a:gd name="T45" fmla="*/ 336 h 511"/>
              <a:gd name="T46" fmla="*/ 12 w 514"/>
              <a:gd name="T47" fmla="*/ 330 h 511"/>
              <a:gd name="T48" fmla="*/ 10 w 514"/>
              <a:gd name="T49" fmla="*/ 330 h 511"/>
              <a:gd name="T50" fmla="*/ 0 w 514"/>
              <a:gd name="T51" fmla="*/ 340 h 511"/>
              <a:gd name="T52" fmla="*/ 0 w 514"/>
              <a:gd name="T53" fmla="*/ 501 h 511"/>
              <a:gd name="T54" fmla="*/ 10 w 514"/>
              <a:gd name="T55" fmla="*/ 511 h 511"/>
              <a:gd name="T56" fmla="*/ 129 w 514"/>
              <a:gd name="T57" fmla="*/ 511 h 511"/>
              <a:gd name="T58" fmla="*/ 129 w 514"/>
              <a:gd name="T59" fmla="*/ 511 h 511"/>
              <a:gd name="T60" fmla="*/ 130 w 514"/>
              <a:gd name="T61" fmla="*/ 511 h 511"/>
              <a:gd name="T62" fmla="*/ 171 w 514"/>
              <a:gd name="T63" fmla="*/ 511 h 511"/>
              <a:gd name="T64" fmla="*/ 171 w 514"/>
              <a:gd name="T65" fmla="*/ 511 h 511"/>
              <a:gd name="T66" fmla="*/ 316 w 514"/>
              <a:gd name="T67" fmla="*/ 511 h 511"/>
              <a:gd name="T68" fmla="*/ 316 w 514"/>
              <a:gd name="T69" fmla="*/ 511 h 511"/>
              <a:gd name="T70" fmla="*/ 405 w 514"/>
              <a:gd name="T71" fmla="*/ 511 h 511"/>
              <a:gd name="T72" fmla="*/ 415 w 514"/>
              <a:gd name="T73" fmla="*/ 501 h 511"/>
              <a:gd name="T74" fmla="*/ 415 w 514"/>
              <a:gd name="T75" fmla="*/ 340 h 511"/>
              <a:gd name="T76" fmla="*/ 425 w 514"/>
              <a:gd name="T77" fmla="*/ 330 h 511"/>
              <a:gd name="T78" fmla="*/ 428 w 514"/>
              <a:gd name="T79" fmla="*/ 330 h 511"/>
              <a:gd name="T80" fmla="*/ 446 w 514"/>
              <a:gd name="T81" fmla="*/ 336 h 511"/>
              <a:gd name="T82" fmla="*/ 471 w 514"/>
              <a:gd name="T83" fmla="*/ 346 h 511"/>
              <a:gd name="T84" fmla="*/ 514 w 514"/>
              <a:gd name="T85" fmla="*/ 304 h 511"/>
              <a:gd name="T86" fmla="*/ 471 w 514"/>
              <a:gd name="T87" fmla="*/ 261 h 511"/>
              <a:gd name="T88" fmla="*/ 446 w 514"/>
              <a:gd name="T89" fmla="*/ 271 h 511"/>
              <a:gd name="T90" fmla="*/ 428 w 514"/>
              <a:gd name="T91" fmla="*/ 278 h 511"/>
              <a:gd name="T92" fmla="*/ 425 w 514"/>
              <a:gd name="T93" fmla="*/ 278 h 511"/>
              <a:gd name="T94" fmla="*/ 415 w 514"/>
              <a:gd name="T95" fmla="*/ 267 h 511"/>
              <a:gd name="T96" fmla="*/ 415 w 514"/>
              <a:gd name="T97" fmla="*/ 10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4" h="511">
                <a:moveTo>
                  <a:pt x="415" y="106"/>
                </a:moveTo>
                <a:cubicBezTo>
                  <a:pt x="415" y="101"/>
                  <a:pt x="410" y="96"/>
                  <a:pt x="405" y="96"/>
                </a:cubicBezTo>
                <a:cubicBezTo>
                  <a:pt x="244" y="96"/>
                  <a:pt x="244" y="96"/>
                  <a:pt x="244" y="96"/>
                </a:cubicBezTo>
                <a:cubicBezTo>
                  <a:pt x="238" y="96"/>
                  <a:pt x="234" y="92"/>
                  <a:pt x="234" y="86"/>
                </a:cubicBezTo>
                <a:cubicBezTo>
                  <a:pt x="234" y="86"/>
                  <a:pt x="234" y="86"/>
                  <a:pt x="234" y="86"/>
                </a:cubicBezTo>
                <a:cubicBezTo>
                  <a:pt x="234" y="80"/>
                  <a:pt x="236" y="72"/>
                  <a:pt x="240" y="68"/>
                </a:cubicBezTo>
                <a:cubicBezTo>
                  <a:pt x="240" y="68"/>
                  <a:pt x="250" y="56"/>
                  <a:pt x="250" y="42"/>
                </a:cubicBezTo>
                <a:cubicBezTo>
                  <a:pt x="250" y="19"/>
                  <a:pt x="231" y="0"/>
                  <a:pt x="207" y="0"/>
                </a:cubicBezTo>
                <a:cubicBezTo>
                  <a:pt x="184" y="0"/>
                  <a:pt x="165" y="19"/>
                  <a:pt x="165" y="42"/>
                </a:cubicBezTo>
                <a:cubicBezTo>
                  <a:pt x="165" y="56"/>
                  <a:pt x="175" y="68"/>
                  <a:pt x="175" y="68"/>
                </a:cubicBezTo>
                <a:cubicBezTo>
                  <a:pt x="178" y="72"/>
                  <a:pt x="181" y="80"/>
                  <a:pt x="181" y="86"/>
                </a:cubicBezTo>
                <a:cubicBezTo>
                  <a:pt x="181" y="86"/>
                  <a:pt x="181" y="86"/>
                  <a:pt x="181" y="86"/>
                </a:cubicBezTo>
                <a:cubicBezTo>
                  <a:pt x="181" y="92"/>
                  <a:pt x="177" y="96"/>
                  <a:pt x="171" y="96"/>
                </a:cubicBezTo>
                <a:cubicBezTo>
                  <a:pt x="10" y="96"/>
                  <a:pt x="10" y="96"/>
                  <a:pt x="10" y="96"/>
                </a:cubicBezTo>
                <a:cubicBezTo>
                  <a:pt x="5" y="96"/>
                  <a:pt x="0" y="101"/>
                  <a:pt x="0" y="106"/>
                </a:cubicBezTo>
                <a:cubicBezTo>
                  <a:pt x="0" y="267"/>
                  <a:pt x="0" y="267"/>
                  <a:pt x="0" y="267"/>
                </a:cubicBezTo>
                <a:cubicBezTo>
                  <a:pt x="0" y="273"/>
                  <a:pt x="5" y="278"/>
                  <a:pt x="10" y="278"/>
                </a:cubicBezTo>
                <a:cubicBezTo>
                  <a:pt x="12" y="278"/>
                  <a:pt x="12" y="278"/>
                  <a:pt x="12" y="278"/>
                </a:cubicBezTo>
                <a:cubicBezTo>
                  <a:pt x="17" y="278"/>
                  <a:pt x="26" y="275"/>
                  <a:pt x="30" y="271"/>
                </a:cubicBezTo>
                <a:cubicBezTo>
                  <a:pt x="30" y="271"/>
                  <a:pt x="42" y="261"/>
                  <a:pt x="55" y="261"/>
                </a:cubicBezTo>
                <a:cubicBezTo>
                  <a:pt x="79" y="261"/>
                  <a:pt x="98" y="280"/>
                  <a:pt x="98" y="304"/>
                </a:cubicBezTo>
                <a:cubicBezTo>
                  <a:pt x="98" y="327"/>
                  <a:pt x="79" y="346"/>
                  <a:pt x="55" y="346"/>
                </a:cubicBezTo>
                <a:cubicBezTo>
                  <a:pt x="42" y="346"/>
                  <a:pt x="30" y="336"/>
                  <a:pt x="30" y="336"/>
                </a:cubicBezTo>
                <a:cubicBezTo>
                  <a:pt x="26" y="333"/>
                  <a:pt x="17" y="330"/>
                  <a:pt x="12" y="330"/>
                </a:cubicBezTo>
                <a:cubicBezTo>
                  <a:pt x="10" y="330"/>
                  <a:pt x="10" y="330"/>
                  <a:pt x="10" y="330"/>
                </a:cubicBezTo>
                <a:cubicBezTo>
                  <a:pt x="5" y="330"/>
                  <a:pt x="0" y="334"/>
                  <a:pt x="0" y="340"/>
                </a:cubicBezTo>
                <a:cubicBezTo>
                  <a:pt x="0" y="501"/>
                  <a:pt x="0" y="501"/>
                  <a:pt x="0" y="501"/>
                </a:cubicBezTo>
                <a:cubicBezTo>
                  <a:pt x="0" y="507"/>
                  <a:pt x="5" y="511"/>
                  <a:pt x="10" y="511"/>
                </a:cubicBezTo>
                <a:cubicBezTo>
                  <a:pt x="129" y="511"/>
                  <a:pt x="129" y="511"/>
                  <a:pt x="129" y="511"/>
                </a:cubicBezTo>
                <a:cubicBezTo>
                  <a:pt x="129" y="511"/>
                  <a:pt x="129" y="511"/>
                  <a:pt x="129" y="511"/>
                </a:cubicBezTo>
                <a:cubicBezTo>
                  <a:pt x="130" y="511"/>
                  <a:pt x="130" y="511"/>
                  <a:pt x="130" y="511"/>
                </a:cubicBezTo>
                <a:cubicBezTo>
                  <a:pt x="171" y="511"/>
                  <a:pt x="171" y="511"/>
                  <a:pt x="171" y="511"/>
                </a:cubicBezTo>
                <a:cubicBezTo>
                  <a:pt x="171" y="511"/>
                  <a:pt x="171" y="511"/>
                  <a:pt x="171" y="511"/>
                </a:cubicBezTo>
                <a:cubicBezTo>
                  <a:pt x="316" y="511"/>
                  <a:pt x="316" y="511"/>
                  <a:pt x="316" y="511"/>
                </a:cubicBezTo>
                <a:cubicBezTo>
                  <a:pt x="316" y="511"/>
                  <a:pt x="316" y="511"/>
                  <a:pt x="316" y="511"/>
                </a:cubicBezTo>
                <a:cubicBezTo>
                  <a:pt x="405" y="511"/>
                  <a:pt x="405" y="511"/>
                  <a:pt x="405" y="511"/>
                </a:cubicBezTo>
                <a:cubicBezTo>
                  <a:pt x="410" y="511"/>
                  <a:pt x="415" y="507"/>
                  <a:pt x="415" y="501"/>
                </a:cubicBezTo>
                <a:cubicBezTo>
                  <a:pt x="415" y="340"/>
                  <a:pt x="415" y="340"/>
                  <a:pt x="415" y="340"/>
                </a:cubicBezTo>
                <a:cubicBezTo>
                  <a:pt x="415" y="334"/>
                  <a:pt x="419" y="330"/>
                  <a:pt x="425" y="330"/>
                </a:cubicBezTo>
                <a:cubicBezTo>
                  <a:pt x="428" y="330"/>
                  <a:pt x="428" y="330"/>
                  <a:pt x="428" y="330"/>
                </a:cubicBezTo>
                <a:cubicBezTo>
                  <a:pt x="433" y="330"/>
                  <a:pt x="442" y="333"/>
                  <a:pt x="446" y="336"/>
                </a:cubicBezTo>
                <a:cubicBezTo>
                  <a:pt x="446" y="336"/>
                  <a:pt x="458" y="346"/>
                  <a:pt x="471" y="346"/>
                </a:cubicBezTo>
                <a:cubicBezTo>
                  <a:pt x="495" y="346"/>
                  <a:pt x="514" y="327"/>
                  <a:pt x="514" y="304"/>
                </a:cubicBezTo>
                <a:cubicBezTo>
                  <a:pt x="514" y="280"/>
                  <a:pt x="495" y="261"/>
                  <a:pt x="471" y="261"/>
                </a:cubicBezTo>
                <a:cubicBezTo>
                  <a:pt x="458" y="261"/>
                  <a:pt x="446" y="271"/>
                  <a:pt x="446" y="271"/>
                </a:cubicBezTo>
                <a:cubicBezTo>
                  <a:pt x="442" y="275"/>
                  <a:pt x="433" y="278"/>
                  <a:pt x="428" y="278"/>
                </a:cubicBezTo>
                <a:cubicBezTo>
                  <a:pt x="425" y="278"/>
                  <a:pt x="425" y="278"/>
                  <a:pt x="425" y="278"/>
                </a:cubicBezTo>
                <a:cubicBezTo>
                  <a:pt x="419" y="278"/>
                  <a:pt x="415" y="273"/>
                  <a:pt x="415" y="267"/>
                </a:cubicBezTo>
                <a:lnTo>
                  <a:pt x="415" y="106"/>
                </a:lnTo>
                <a:close/>
              </a:path>
            </a:pathLst>
          </a:custGeom>
          <a:solidFill>
            <a:schemeClr val="accent1">
              <a:alpha val="80000"/>
            </a:schemeClr>
          </a:solidFill>
          <a:ln>
            <a:noFill/>
          </a:ln>
          <a:effectLst>
            <a:innerShdw blurRad="63500" dist="50800" dir="16200000">
              <a:prstClr val="black">
                <a:alpha val="20000"/>
              </a:prstClr>
            </a:innerShdw>
          </a:effectLst>
        </p:spPr>
        <p:txBody>
          <a:bodyPr vert="horz" wrap="square" lIns="68580" tIns="34290" rIns="68580" bIns="34290" numCol="1" anchor="t" anchorCtr="0" compatLnSpc="1">
            <a:prstTxWarp prst="textNoShape">
              <a:avLst/>
            </a:prstTxWarp>
          </a:bodyPr>
          <a:lstStyle/>
          <a:p>
            <a:endParaRPr lang="en-US" sz="1350"/>
          </a:p>
        </p:txBody>
      </p:sp>
      <p:sp>
        <p:nvSpPr>
          <p:cNvPr id="83" name="Freeform 44">
            <a:extLst>
              <a:ext uri="{FF2B5EF4-FFF2-40B4-BE49-F238E27FC236}">
                <a16:creationId xmlns:a16="http://schemas.microsoft.com/office/drawing/2014/main" id="{9F74886F-D60F-46C6-98B9-FCD62F61CE61}"/>
              </a:ext>
            </a:extLst>
          </p:cNvPr>
          <p:cNvSpPr>
            <a:spLocks/>
          </p:cNvSpPr>
          <p:nvPr/>
        </p:nvSpPr>
        <p:spPr bwMode="auto">
          <a:xfrm>
            <a:off x="5915573" y="1437111"/>
            <a:ext cx="1917997" cy="1902211"/>
          </a:xfrm>
          <a:custGeom>
            <a:avLst/>
            <a:gdLst>
              <a:gd name="T0" fmla="*/ 415 w 514"/>
              <a:gd name="T1" fmla="*/ 106 h 511"/>
              <a:gd name="T2" fmla="*/ 405 w 514"/>
              <a:gd name="T3" fmla="*/ 96 h 511"/>
              <a:gd name="T4" fmla="*/ 244 w 514"/>
              <a:gd name="T5" fmla="*/ 96 h 511"/>
              <a:gd name="T6" fmla="*/ 234 w 514"/>
              <a:gd name="T7" fmla="*/ 86 h 511"/>
              <a:gd name="T8" fmla="*/ 234 w 514"/>
              <a:gd name="T9" fmla="*/ 86 h 511"/>
              <a:gd name="T10" fmla="*/ 240 w 514"/>
              <a:gd name="T11" fmla="*/ 68 h 511"/>
              <a:gd name="T12" fmla="*/ 250 w 514"/>
              <a:gd name="T13" fmla="*/ 42 h 511"/>
              <a:gd name="T14" fmla="*/ 207 w 514"/>
              <a:gd name="T15" fmla="*/ 0 h 511"/>
              <a:gd name="T16" fmla="*/ 165 w 514"/>
              <a:gd name="T17" fmla="*/ 42 h 511"/>
              <a:gd name="T18" fmla="*/ 175 w 514"/>
              <a:gd name="T19" fmla="*/ 68 h 511"/>
              <a:gd name="T20" fmla="*/ 181 w 514"/>
              <a:gd name="T21" fmla="*/ 86 h 511"/>
              <a:gd name="T22" fmla="*/ 181 w 514"/>
              <a:gd name="T23" fmla="*/ 86 h 511"/>
              <a:gd name="T24" fmla="*/ 171 w 514"/>
              <a:gd name="T25" fmla="*/ 96 h 511"/>
              <a:gd name="T26" fmla="*/ 10 w 514"/>
              <a:gd name="T27" fmla="*/ 96 h 511"/>
              <a:gd name="T28" fmla="*/ 0 w 514"/>
              <a:gd name="T29" fmla="*/ 106 h 511"/>
              <a:gd name="T30" fmla="*/ 0 w 514"/>
              <a:gd name="T31" fmla="*/ 267 h 511"/>
              <a:gd name="T32" fmla="*/ 10 w 514"/>
              <a:gd name="T33" fmla="*/ 278 h 511"/>
              <a:gd name="T34" fmla="*/ 12 w 514"/>
              <a:gd name="T35" fmla="*/ 278 h 511"/>
              <a:gd name="T36" fmla="*/ 30 w 514"/>
              <a:gd name="T37" fmla="*/ 271 h 511"/>
              <a:gd name="T38" fmla="*/ 55 w 514"/>
              <a:gd name="T39" fmla="*/ 261 h 511"/>
              <a:gd name="T40" fmla="*/ 98 w 514"/>
              <a:gd name="T41" fmla="*/ 304 h 511"/>
              <a:gd name="T42" fmla="*/ 55 w 514"/>
              <a:gd name="T43" fmla="*/ 346 h 511"/>
              <a:gd name="T44" fmla="*/ 30 w 514"/>
              <a:gd name="T45" fmla="*/ 336 h 511"/>
              <a:gd name="T46" fmla="*/ 12 w 514"/>
              <a:gd name="T47" fmla="*/ 330 h 511"/>
              <a:gd name="T48" fmla="*/ 10 w 514"/>
              <a:gd name="T49" fmla="*/ 330 h 511"/>
              <a:gd name="T50" fmla="*/ 0 w 514"/>
              <a:gd name="T51" fmla="*/ 340 h 511"/>
              <a:gd name="T52" fmla="*/ 0 w 514"/>
              <a:gd name="T53" fmla="*/ 501 h 511"/>
              <a:gd name="T54" fmla="*/ 10 w 514"/>
              <a:gd name="T55" fmla="*/ 511 h 511"/>
              <a:gd name="T56" fmla="*/ 129 w 514"/>
              <a:gd name="T57" fmla="*/ 511 h 511"/>
              <a:gd name="T58" fmla="*/ 129 w 514"/>
              <a:gd name="T59" fmla="*/ 511 h 511"/>
              <a:gd name="T60" fmla="*/ 130 w 514"/>
              <a:gd name="T61" fmla="*/ 511 h 511"/>
              <a:gd name="T62" fmla="*/ 171 w 514"/>
              <a:gd name="T63" fmla="*/ 511 h 511"/>
              <a:gd name="T64" fmla="*/ 171 w 514"/>
              <a:gd name="T65" fmla="*/ 511 h 511"/>
              <a:gd name="T66" fmla="*/ 316 w 514"/>
              <a:gd name="T67" fmla="*/ 511 h 511"/>
              <a:gd name="T68" fmla="*/ 316 w 514"/>
              <a:gd name="T69" fmla="*/ 511 h 511"/>
              <a:gd name="T70" fmla="*/ 405 w 514"/>
              <a:gd name="T71" fmla="*/ 511 h 511"/>
              <a:gd name="T72" fmla="*/ 415 w 514"/>
              <a:gd name="T73" fmla="*/ 501 h 511"/>
              <a:gd name="T74" fmla="*/ 415 w 514"/>
              <a:gd name="T75" fmla="*/ 340 h 511"/>
              <a:gd name="T76" fmla="*/ 425 w 514"/>
              <a:gd name="T77" fmla="*/ 330 h 511"/>
              <a:gd name="T78" fmla="*/ 428 w 514"/>
              <a:gd name="T79" fmla="*/ 330 h 511"/>
              <a:gd name="T80" fmla="*/ 446 w 514"/>
              <a:gd name="T81" fmla="*/ 336 h 511"/>
              <a:gd name="T82" fmla="*/ 471 w 514"/>
              <a:gd name="T83" fmla="*/ 346 h 511"/>
              <a:gd name="T84" fmla="*/ 514 w 514"/>
              <a:gd name="T85" fmla="*/ 304 h 511"/>
              <a:gd name="T86" fmla="*/ 471 w 514"/>
              <a:gd name="T87" fmla="*/ 261 h 511"/>
              <a:gd name="T88" fmla="*/ 446 w 514"/>
              <a:gd name="T89" fmla="*/ 271 h 511"/>
              <a:gd name="T90" fmla="*/ 428 w 514"/>
              <a:gd name="T91" fmla="*/ 278 h 511"/>
              <a:gd name="T92" fmla="*/ 425 w 514"/>
              <a:gd name="T93" fmla="*/ 278 h 511"/>
              <a:gd name="T94" fmla="*/ 415 w 514"/>
              <a:gd name="T95" fmla="*/ 267 h 511"/>
              <a:gd name="T96" fmla="*/ 415 w 514"/>
              <a:gd name="T97" fmla="*/ 10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4" h="511">
                <a:moveTo>
                  <a:pt x="415" y="106"/>
                </a:moveTo>
                <a:cubicBezTo>
                  <a:pt x="415" y="101"/>
                  <a:pt x="410" y="96"/>
                  <a:pt x="405" y="96"/>
                </a:cubicBezTo>
                <a:cubicBezTo>
                  <a:pt x="244" y="96"/>
                  <a:pt x="244" y="96"/>
                  <a:pt x="244" y="96"/>
                </a:cubicBezTo>
                <a:cubicBezTo>
                  <a:pt x="238" y="96"/>
                  <a:pt x="234" y="92"/>
                  <a:pt x="234" y="86"/>
                </a:cubicBezTo>
                <a:cubicBezTo>
                  <a:pt x="234" y="86"/>
                  <a:pt x="234" y="86"/>
                  <a:pt x="234" y="86"/>
                </a:cubicBezTo>
                <a:cubicBezTo>
                  <a:pt x="234" y="80"/>
                  <a:pt x="236" y="72"/>
                  <a:pt x="240" y="68"/>
                </a:cubicBezTo>
                <a:cubicBezTo>
                  <a:pt x="240" y="68"/>
                  <a:pt x="250" y="56"/>
                  <a:pt x="250" y="42"/>
                </a:cubicBezTo>
                <a:cubicBezTo>
                  <a:pt x="250" y="19"/>
                  <a:pt x="231" y="0"/>
                  <a:pt x="207" y="0"/>
                </a:cubicBezTo>
                <a:cubicBezTo>
                  <a:pt x="184" y="0"/>
                  <a:pt x="165" y="19"/>
                  <a:pt x="165" y="42"/>
                </a:cubicBezTo>
                <a:cubicBezTo>
                  <a:pt x="165" y="56"/>
                  <a:pt x="175" y="68"/>
                  <a:pt x="175" y="68"/>
                </a:cubicBezTo>
                <a:cubicBezTo>
                  <a:pt x="178" y="72"/>
                  <a:pt x="181" y="80"/>
                  <a:pt x="181" y="86"/>
                </a:cubicBezTo>
                <a:cubicBezTo>
                  <a:pt x="181" y="86"/>
                  <a:pt x="181" y="86"/>
                  <a:pt x="181" y="86"/>
                </a:cubicBezTo>
                <a:cubicBezTo>
                  <a:pt x="181" y="92"/>
                  <a:pt x="177" y="96"/>
                  <a:pt x="171" y="96"/>
                </a:cubicBezTo>
                <a:cubicBezTo>
                  <a:pt x="10" y="96"/>
                  <a:pt x="10" y="96"/>
                  <a:pt x="10" y="96"/>
                </a:cubicBezTo>
                <a:cubicBezTo>
                  <a:pt x="5" y="96"/>
                  <a:pt x="0" y="101"/>
                  <a:pt x="0" y="106"/>
                </a:cubicBezTo>
                <a:cubicBezTo>
                  <a:pt x="0" y="267"/>
                  <a:pt x="0" y="267"/>
                  <a:pt x="0" y="267"/>
                </a:cubicBezTo>
                <a:cubicBezTo>
                  <a:pt x="0" y="273"/>
                  <a:pt x="5" y="278"/>
                  <a:pt x="10" y="278"/>
                </a:cubicBezTo>
                <a:cubicBezTo>
                  <a:pt x="12" y="278"/>
                  <a:pt x="12" y="278"/>
                  <a:pt x="12" y="278"/>
                </a:cubicBezTo>
                <a:cubicBezTo>
                  <a:pt x="17" y="278"/>
                  <a:pt x="26" y="275"/>
                  <a:pt x="30" y="271"/>
                </a:cubicBezTo>
                <a:cubicBezTo>
                  <a:pt x="30" y="271"/>
                  <a:pt x="42" y="261"/>
                  <a:pt x="55" y="261"/>
                </a:cubicBezTo>
                <a:cubicBezTo>
                  <a:pt x="79" y="261"/>
                  <a:pt x="98" y="280"/>
                  <a:pt x="98" y="304"/>
                </a:cubicBezTo>
                <a:cubicBezTo>
                  <a:pt x="98" y="327"/>
                  <a:pt x="79" y="346"/>
                  <a:pt x="55" y="346"/>
                </a:cubicBezTo>
                <a:cubicBezTo>
                  <a:pt x="42" y="346"/>
                  <a:pt x="30" y="336"/>
                  <a:pt x="30" y="336"/>
                </a:cubicBezTo>
                <a:cubicBezTo>
                  <a:pt x="26" y="333"/>
                  <a:pt x="17" y="330"/>
                  <a:pt x="12" y="330"/>
                </a:cubicBezTo>
                <a:cubicBezTo>
                  <a:pt x="10" y="330"/>
                  <a:pt x="10" y="330"/>
                  <a:pt x="10" y="330"/>
                </a:cubicBezTo>
                <a:cubicBezTo>
                  <a:pt x="5" y="330"/>
                  <a:pt x="0" y="334"/>
                  <a:pt x="0" y="340"/>
                </a:cubicBezTo>
                <a:cubicBezTo>
                  <a:pt x="0" y="501"/>
                  <a:pt x="0" y="501"/>
                  <a:pt x="0" y="501"/>
                </a:cubicBezTo>
                <a:cubicBezTo>
                  <a:pt x="0" y="507"/>
                  <a:pt x="5" y="511"/>
                  <a:pt x="10" y="511"/>
                </a:cubicBezTo>
                <a:cubicBezTo>
                  <a:pt x="129" y="511"/>
                  <a:pt x="129" y="511"/>
                  <a:pt x="129" y="511"/>
                </a:cubicBezTo>
                <a:cubicBezTo>
                  <a:pt x="129" y="511"/>
                  <a:pt x="129" y="511"/>
                  <a:pt x="129" y="511"/>
                </a:cubicBezTo>
                <a:cubicBezTo>
                  <a:pt x="130" y="511"/>
                  <a:pt x="130" y="511"/>
                  <a:pt x="130" y="511"/>
                </a:cubicBezTo>
                <a:cubicBezTo>
                  <a:pt x="171" y="511"/>
                  <a:pt x="171" y="511"/>
                  <a:pt x="171" y="511"/>
                </a:cubicBezTo>
                <a:cubicBezTo>
                  <a:pt x="171" y="511"/>
                  <a:pt x="171" y="511"/>
                  <a:pt x="171" y="511"/>
                </a:cubicBezTo>
                <a:cubicBezTo>
                  <a:pt x="316" y="511"/>
                  <a:pt x="316" y="511"/>
                  <a:pt x="316" y="511"/>
                </a:cubicBezTo>
                <a:cubicBezTo>
                  <a:pt x="316" y="511"/>
                  <a:pt x="316" y="511"/>
                  <a:pt x="316" y="511"/>
                </a:cubicBezTo>
                <a:cubicBezTo>
                  <a:pt x="405" y="511"/>
                  <a:pt x="405" y="511"/>
                  <a:pt x="405" y="511"/>
                </a:cubicBezTo>
                <a:cubicBezTo>
                  <a:pt x="410" y="511"/>
                  <a:pt x="415" y="507"/>
                  <a:pt x="415" y="501"/>
                </a:cubicBezTo>
                <a:cubicBezTo>
                  <a:pt x="415" y="340"/>
                  <a:pt x="415" y="340"/>
                  <a:pt x="415" y="340"/>
                </a:cubicBezTo>
                <a:cubicBezTo>
                  <a:pt x="415" y="334"/>
                  <a:pt x="419" y="330"/>
                  <a:pt x="425" y="330"/>
                </a:cubicBezTo>
                <a:cubicBezTo>
                  <a:pt x="428" y="330"/>
                  <a:pt x="428" y="330"/>
                  <a:pt x="428" y="330"/>
                </a:cubicBezTo>
                <a:cubicBezTo>
                  <a:pt x="433" y="330"/>
                  <a:pt x="442" y="333"/>
                  <a:pt x="446" y="336"/>
                </a:cubicBezTo>
                <a:cubicBezTo>
                  <a:pt x="446" y="336"/>
                  <a:pt x="458" y="346"/>
                  <a:pt x="471" y="346"/>
                </a:cubicBezTo>
                <a:cubicBezTo>
                  <a:pt x="495" y="346"/>
                  <a:pt x="514" y="327"/>
                  <a:pt x="514" y="304"/>
                </a:cubicBezTo>
                <a:cubicBezTo>
                  <a:pt x="514" y="280"/>
                  <a:pt x="495" y="261"/>
                  <a:pt x="471" y="261"/>
                </a:cubicBezTo>
                <a:cubicBezTo>
                  <a:pt x="458" y="261"/>
                  <a:pt x="446" y="271"/>
                  <a:pt x="446" y="271"/>
                </a:cubicBezTo>
                <a:cubicBezTo>
                  <a:pt x="442" y="275"/>
                  <a:pt x="433" y="278"/>
                  <a:pt x="428" y="278"/>
                </a:cubicBezTo>
                <a:cubicBezTo>
                  <a:pt x="425" y="278"/>
                  <a:pt x="425" y="278"/>
                  <a:pt x="425" y="278"/>
                </a:cubicBezTo>
                <a:cubicBezTo>
                  <a:pt x="419" y="278"/>
                  <a:pt x="415" y="273"/>
                  <a:pt x="415" y="267"/>
                </a:cubicBezTo>
                <a:lnTo>
                  <a:pt x="415" y="106"/>
                </a:lnTo>
                <a:close/>
              </a:path>
            </a:pathLst>
          </a:custGeom>
          <a:solidFill>
            <a:schemeClr val="accent1">
              <a:lumMod val="75000"/>
              <a:alpha val="80000"/>
            </a:schemeClr>
          </a:solidFill>
          <a:ln>
            <a:noFill/>
          </a:ln>
          <a:effectLst>
            <a:innerShdw blurRad="63500" dist="50800" dir="16200000">
              <a:prstClr val="black">
                <a:alpha val="20000"/>
              </a:prstClr>
            </a:innerShdw>
          </a:effectLst>
        </p:spPr>
        <p:txBody>
          <a:bodyPr vert="horz" wrap="square" lIns="68580" tIns="34290" rIns="68580" bIns="34290" numCol="1" anchor="t" anchorCtr="0" compatLnSpc="1">
            <a:prstTxWarp prst="textNoShape">
              <a:avLst/>
            </a:prstTxWarp>
          </a:bodyPr>
          <a:lstStyle/>
          <a:p>
            <a:endParaRPr lang="en-US" sz="1350"/>
          </a:p>
        </p:txBody>
      </p:sp>
      <p:sp>
        <p:nvSpPr>
          <p:cNvPr id="7186" name="Freeform 44">
            <a:extLst>
              <a:ext uri="{FF2B5EF4-FFF2-40B4-BE49-F238E27FC236}">
                <a16:creationId xmlns:a16="http://schemas.microsoft.com/office/drawing/2014/main" id="{B02AE670-F16E-45C6-BB7F-EDBE4B9D0339}"/>
              </a:ext>
            </a:extLst>
          </p:cNvPr>
          <p:cNvSpPr>
            <a:spLocks/>
          </p:cNvSpPr>
          <p:nvPr/>
        </p:nvSpPr>
        <p:spPr bwMode="auto">
          <a:xfrm>
            <a:off x="1286419" y="1437111"/>
            <a:ext cx="1917997" cy="1902211"/>
          </a:xfrm>
          <a:custGeom>
            <a:avLst/>
            <a:gdLst>
              <a:gd name="T0" fmla="*/ 415 w 514"/>
              <a:gd name="T1" fmla="*/ 106 h 511"/>
              <a:gd name="T2" fmla="*/ 405 w 514"/>
              <a:gd name="T3" fmla="*/ 96 h 511"/>
              <a:gd name="T4" fmla="*/ 244 w 514"/>
              <a:gd name="T5" fmla="*/ 96 h 511"/>
              <a:gd name="T6" fmla="*/ 234 w 514"/>
              <a:gd name="T7" fmla="*/ 86 h 511"/>
              <a:gd name="T8" fmla="*/ 234 w 514"/>
              <a:gd name="T9" fmla="*/ 86 h 511"/>
              <a:gd name="T10" fmla="*/ 240 w 514"/>
              <a:gd name="T11" fmla="*/ 68 h 511"/>
              <a:gd name="T12" fmla="*/ 250 w 514"/>
              <a:gd name="T13" fmla="*/ 42 h 511"/>
              <a:gd name="T14" fmla="*/ 207 w 514"/>
              <a:gd name="T15" fmla="*/ 0 h 511"/>
              <a:gd name="T16" fmla="*/ 165 w 514"/>
              <a:gd name="T17" fmla="*/ 42 h 511"/>
              <a:gd name="T18" fmla="*/ 175 w 514"/>
              <a:gd name="T19" fmla="*/ 68 h 511"/>
              <a:gd name="T20" fmla="*/ 181 w 514"/>
              <a:gd name="T21" fmla="*/ 86 h 511"/>
              <a:gd name="T22" fmla="*/ 181 w 514"/>
              <a:gd name="T23" fmla="*/ 86 h 511"/>
              <a:gd name="T24" fmla="*/ 171 w 514"/>
              <a:gd name="T25" fmla="*/ 96 h 511"/>
              <a:gd name="T26" fmla="*/ 10 w 514"/>
              <a:gd name="T27" fmla="*/ 96 h 511"/>
              <a:gd name="T28" fmla="*/ 0 w 514"/>
              <a:gd name="T29" fmla="*/ 106 h 511"/>
              <a:gd name="T30" fmla="*/ 0 w 514"/>
              <a:gd name="T31" fmla="*/ 267 h 511"/>
              <a:gd name="T32" fmla="*/ 10 w 514"/>
              <a:gd name="T33" fmla="*/ 278 h 511"/>
              <a:gd name="T34" fmla="*/ 12 w 514"/>
              <a:gd name="T35" fmla="*/ 278 h 511"/>
              <a:gd name="T36" fmla="*/ 30 w 514"/>
              <a:gd name="T37" fmla="*/ 271 h 511"/>
              <a:gd name="T38" fmla="*/ 55 w 514"/>
              <a:gd name="T39" fmla="*/ 261 h 511"/>
              <a:gd name="T40" fmla="*/ 98 w 514"/>
              <a:gd name="T41" fmla="*/ 304 h 511"/>
              <a:gd name="T42" fmla="*/ 55 w 514"/>
              <a:gd name="T43" fmla="*/ 346 h 511"/>
              <a:gd name="T44" fmla="*/ 30 w 514"/>
              <a:gd name="T45" fmla="*/ 336 h 511"/>
              <a:gd name="T46" fmla="*/ 12 w 514"/>
              <a:gd name="T47" fmla="*/ 330 h 511"/>
              <a:gd name="T48" fmla="*/ 10 w 514"/>
              <a:gd name="T49" fmla="*/ 330 h 511"/>
              <a:gd name="T50" fmla="*/ 0 w 514"/>
              <a:gd name="T51" fmla="*/ 340 h 511"/>
              <a:gd name="T52" fmla="*/ 0 w 514"/>
              <a:gd name="T53" fmla="*/ 501 h 511"/>
              <a:gd name="T54" fmla="*/ 10 w 514"/>
              <a:gd name="T55" fmla="*/ 511 h 511"/>
              <a:gd name="T56" fmla="*/ 129 w 514"/>
              <a:gd name="T57" fmla="*/ 511 h 511"/>
              <a:gd name="T58" fmla="*/ 129 w 514"/>
              <a:gd name="T59" fmla="*/ 511 h 511"/>
              <a:gd name="T60" fmla="*/ 130 w 514"/>
              <a:gd name="T61" fmla="*/ 511 h 511"/>
              <a:gd name="T62" fmla="*/ 171 w 514"/>
              <a:gd name="T63" fmla="*/ 511 h 511"/>
              <a:gd name="T64" fmla="*/ 171 w 514"/>
              <a:gd name="T65" fmla="*/ 511 h 511"/>
              <a:gd name="T66" fmla="*/ 316 w 514"/>
              <a:gd name="T67" fmla="*/ 511 h 511"/>
              <a:gd name="T68" fmla="*/ 316 w 514"/>
              <a:gd name="T69" fmla="*/ 511 h 511"/>
              <a:gd name="T70" fmla="*/ 405 w 514"/>
              <a:gd name="T71" fmla="*/ 511 h 511"/>
              <a:gd name="T72" fmla="*/ 415 w 514"/>
              <a:gd name="T73" fmla="*/ 501 h 511"/>
              <a:gd name="T74" fmla="*/ 415 w 514"/>
              <a:gd name="T75" fmla="*/ 340 h 511"/>
              <a:gd name="T76" fmla="*/ 425 w 514"/>
              <a:gd name="T77" fmla="*/ 330 h 511"/>
              <a:gd name="T78" fmla="*/ 428 w 514"/>
              <a:gd name="T79" fmla="*/ 330 h 511"/>
              <a:gd name="T80" fmla="*/ 446 w 514"/>
              <a:gd name="T81" fmla="*/ 336 h 511"/>
              <a:gd name="T82" fmla="*/ 471 w 514"/>
              <a:gd name="T83" fmla="*/ 346 h 511"/>
              <a:gd name="T84" fmla="*/ 514 w 514"/>
              <a:gd name="T85" fmla="*/ 304 h 511"/>
              <a:gd name="T86" fmla="*/ 471 w 514"/>
              <a:gd name="T87" fmla="*/ 261 h 511"/>
              <a:gd name="T88" fmla="*/ 446 w 514"/>
              <a:gd name="T89" fmla="*/ 271 h 511"/>
              <a:gd name="T90" fmla="*/ 428 w 514"/>
              <a:gd name="T91" fmla="*/ 278 h 511"/>
              <a:gd name="T92" fmla="*/ 425 w 514"/>
              <a:gd name="T93" fmla="*/ 278 h 511"/>
              <a:gd name="T94" fmla="*/ 415 w 514"/>
              <a:gd name="T95" fmla="*/ 267 h 511"/>
              <a:gd name="T96" fmla="*/ 415 w 514"/>
              <a:gd name="T97" fmla="*/ 10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4" h="511">
                <a:moveTo>
                  <a:pt x="415" y="106"/>
                </a:moveTo>
                <a:cubicBezTo>
                  <a:pt x="415" y="101"/>
                  <a:pt x="410" y="96"/>
                  <a:pt x="405" y="96"/>
                </a:cubicBezTo>
                <a:cubicBezTo>
                  <a:pt x="244" y="96"/>
                  <a:pt x="244" y="96"/>
                  <a:pt x="244" y="96"/>
                </a:cubicBezTo>
                <a:cubicBezTo>
                  <a:pt x="238" y="96"/>
                  <a:pt x="234" y="92"/>
                  <a:pt x="234" y="86"/>
                </a:cubicBezTo>
                <a:cubicBezTo>
                  <a:pt x="234" y="86"/>
                  <a:pt x="234" y="86"/>
                  <a:pt x="234" y="86"/>
                </a:cubicBezTo>
                <a:cubicBezTo>
                  <a:pt x="234" y="80"/>
                  <a:pt x="236" y="72"/>
                  <a:pt x="240" y="68"/>
                </a:cubicBezTo>
                <a:cubicBezTo>
                  <a:pt x="240" y="68"/>
                  <a:pt x="250" y="56"/>
                  <a:pt x="250" y="42"/>
                </a:cubicBezTo>
                <a:cubicBezTo>
                  <a:pt x="250" y="19"/>
                  <a:pt x="231" y="0"/>
                  <a:pt x="207" y="0"/>
                </a:cubicBezTo>
                <a:cubicBezTo>
                  <a:pt x="184" y="0"/>
                  <a:pt x="165" y="19"/>
                  <a:pt x="165" y="42"/>
                </a:cubicBezTo>
                <a:cubicBezTo>
                  <a:pt x="165" y="56"/>
                  <a:pt x="175" y="68"/>
                  <a:pt x="175" y="68"/>
                </a:cubicBezTo>
                <a:cubicBezTo>
                  <a:pt x="178" y="72"/>
                  <a:pt x="181" y="80"/>
                  <a:pt x="181" y="86"/>
                </a:cubicBezTo>
                <a:cubicBezTo>
                  <a:pt x="181" y="86"/>
                  <a:pt x="181" y="86"/>
                  <a:pt x="181" y="86"/>
                </a:cubicBezTo>
                <a:cubicBezTo>
                  <a:pt x="181" y="92"/>
                  <a:pt x="177" y="96"/>
                  <a:pt x="171" y="96"/>
                </a:cubicBezTo>
                <a:cubicBezTo>
                  <a:pt x="10" y="96"/>
                  <a:pt x="10" y="96"/>
                  <a:pt x="10" y="96"/>
                </a:cubicBezTo>
                <a:cubicBezTo>
                  <a:pt x="5" y="96"/>
                  <a:pt x="0" y="101"/>
                  <a:pt x="0" y="106"/>
                </a:cubicBezTo>
                <a:cubicBezTo>
                  <a:pt x="0" y="267"/>
                  <a:pt x="0" y="267"/>
                  <a:pt x="0" y="267"/>
                </a:cubicBezTo>
                <a:cubicBezTo>
                  <a:pt x="0" y="273"/>
                  <a:pt x="5" y="278"/>
                  <a:pt x="10" y="278"/>
                </a:cubicBezTo>
                <a:cubicBezTo>
                  <a:pt x="12" y="278"/>
                  <a:pt x="12" y="278"/>
                  <a:pt x="12" y="278"/>
                </a:cubicBezTo>
                <a:cubicBezTo>
                  <a:pt x="17" y="278"/>
                  <a:pt x="26" y="275"/>
                  <a:pt x="30" y="271"/>
                </a:cubicBezTo>
                <a:cubicBezTo>
                  <a:pt x="30" y="271"/>
                  <a:pt x="42" y="261"/>
                  <a:pt x="55" y="261"/>
                </a:cubicBezTo>
                <a:cubicBezTo>
                  <a:pt x="79" y="261"/>
                  <a:pt x="98" y="280"/>
                  <a:pt x="98" y="304"/>
                </a:cubicBezTo>
                <a:cubicBezTo>
                  <a:pt x="98" y="327"/>
                  <a:pt x="79" y="346"/>
                  <a:pt x="55" y="346"/>
                </a:cubicBezTo>
                <a:cubicBezTo>
                  <a:pt x="42" y="346"/>
                  <a:pt x="30" y="336"/>
                  <a:pt x="30" y="336"/>
                </a:cubicBezTo>
                <a:cubicBezTo>
                  <a:pt x="26" y="333"/>
                  <a:pt x="17" y="330"/>
                  <a:pt x="12" y="330"/>
                </a:cubicBezTo>
                <a:cubicBezTo>
                  <a:pt x="10" y="330"/>
                  <a:pt x="10" y="330"/>
                  <a:pt x="10" y="330"/>
                </a:cubicBezTo>
                <a:cubicBezTo>
                  <a:pt x="5" y="330"/>
                  <a:pt x="0" y="334"/>
                  <a:pt x="0" y="340"/>
                </a:cubicBezTo>
                <a:cubicBezTo>
                  <a:pt x="0" y="501"/>
                  <a:pt x="0" y="501"/>
                  <a:pt x="0" y="501"/>
                </a:cubicBezTo>
                <a:cubicBezTo>
                  <a:pt x="0" y="507"/>
                  <a:pt x="5" y="511"/>
                  <a:pt x="10" y="511"/>
                </a:cubicBezTo>
                <a:cubicBezTo>
                  <a:pt x="129" y="511"/>
                  <a:pt x="129" y="511"/>
                  <a:pt x="129" y="511"/>
                </a:cubicBezTo>
                <a:cubicBezTo>
                  <a:pt x="129" y="511"/>
                  <a:pt x="129" y="511"/>
                  <a:pt x="129" y="511"/>
                </a:cubicBezTo>
                <a:cubicBezTo>
                  <a:pt x="130" y="511"/>
                  <a:pt x="130" y="511"/>
                  <a:pt x="130" y="511"/>
                </a:cubicBezTo>
                <a:cubicBezTo>
                  <a:pt x="171" y="511"/>
                  <a:pt x="171" y="511"/>
                  <a:pt x="171" y="511"/>
                </a:cubicBezTo>
                <a:cubicBezTo>
                  <a:pt x="171" y="511"/>
                  <a:pt x="171" y="511"/>
                  <a:pt x="171" y="511"/>
                </a:cubicBezTo>
                <a:cubicBezTo>
                  <a:pt x="316" y="511"/>
                  <a:pt x="316" y="511"/>
                  <a:pt x="316" y="511"/>
                </a:cubicBezTo>
                <a:cubicBezTo>
                  <a:pt x="316" y="511"/>
                  <a:pt x="316" y="511"/>
                  <a:pt x="316" y="511"/>
                </a:cubicBezTo>
                <a:cubicBezTo>
                  <a:pt x="405" y="511"/>
                  <a:pt x="405" y="511"/>
                  <a:pt x="405" y="511"/>
                </a:cubicBezTo>
                <a:cubicBezTo>
                  <a:pt x="410" y="511"/>
                  <a:pt x="415" y="507"/>
                  <a:pt x="415" y="501"/>
                </a:cubicBezTo>
                <a:cubicBezTo>
                  <a:pt x="415" y="340"/>
                  <a:pt x="415" y="340"/>
                  <a:pt x="415" y="340"/>
                </a:cubicBezTo>
                <a:cubicBezTo>
                  <a:pt x="415" y="334"/>
                  <a:pt x="419" y="330"/>
                  <a:pt x="425" y="330"/>
                </a:cubicBezTo>
                <a:cubicBezTo>
                  <a:pt x="428" y="330"/>
                  <a:pt x="428" y="330"/>
                  <a:pt x="428" y="330"/>
                </a:cubicBezTo>
                <a:cubicBezTo>
                  <a:pt x="433" y="330"/>
                  <a:pt x="442" y="333"/>
                  <a:pt x="446" y="336"/>
                </a:cubicBezTo>
                <a:cubicBezTo>
                  <a:pt x="446" y="336"/>
                  <a:pt x="458" y="346"/>
                  <a:pt x="471" y="346"/>
                </a:cubicBezTo>
                <a:cubicBezTo>
                  <a:pt x="495" y="346"/>
                  <a:pt x="514" y="327"/>
                  <a:pt x="514" y="304"/>
                </a:cubicBezTo>
                <a:cubicBezTo>
                  <a:pt x="514" y="280"/>
                  <a:pt x="495" y="261"/>
                  <a:pt x="471" y="261"/>
                </a:cubicBezTo>
                <a:cubicBezTo>
                  <a:pt x="458" y="261"/>
                  <a:pt x="446" y="271"/>
                  <a:pt x="446" y="271"/>
                </a:cubicBezTo>
                <a:cubicBezTo>
                  <a:pt x="442" y="275"/>
                  <a:pt x="433" y="278"/>
                  <a:pt x="428" y="278"/>
                </a:cubicBezTo>
                <a:cubicBezTo>
                  <a:pt x="425" y="278"/>
                  <a:pt x="425" y="278"/>
                  <a:pt x="425" y="278"/>
                </a:cubicBezTo>
                <a:cubicBezTo>
                  <a:pt x="419" y="278"/>
                  <a:pt x="415" y="273"/>
                  <a:pt x="415" y="267"/>
                </a:cubicBezTo>
                <a:lnTo>
                  <a:pt x="415" y="106"/>
                </a:lnTo>
                <a:close/>
              </a:path>
            </a:pathLst>
          </a:custGeom>
          <a:solidFill>
            <a:schemeClr val="accent1">
              <a:lumMod val="40000"/>
              <a:lumOff val="60000"/>
              <a:alpha val="80000"/>
            </a:schemeClr>
          </a:solidFill>
          <a:ln>
            <a:noFill/>
          </a:ln>
          <a:effectLst>
            <a:innerShdw blurRad="63500" dist="50800" dir="16200000">
              <a:prstClr val="black">
                <a:alpha val="20000"/>
              </a:prstClr>
            </a:innerShdw>
          </a:effectLst>
        </p:spPr>
        <p:txBody>
          <a:bodyPr vert="horz" wrap="square" lIns="68580" tIns="34290" rIns="68580" bIns="34290" numCol="1" anchor="t" anchorCtr="0" compatLnSpc="1">
            <a:prstTxWarp prst="textNoShape">
              <a:avLst/>
            </a:prstTxWarp>
          </a:bodyPr>
          <a:lstStyle/>
          <a:p>
            <a:endParaRPr lang="en-US" sz="1350"/>
          </a:p>
        </p:txBody>
      </p:sp>
      <p:sp>
        <p:nvSpPr>
          <p:cNvPr id="63" name="Rectangle 62">
            <a:extLst>
              <a:ext uri="{FF2B5EF4-FFF2-40B4-BE49-F238E27FC236}">
                <a16:creationId xmlns:a16="http://schemas.microsoft.com/office/drawing/2014/main" id="{C5BC2A33-FC7C-46AF-94ED-A88814EED7E2}"/>
              </a:ext>
            </a:extLst>
          </p:cNvPr>
          <p:cNvSpPr/>
          <p:nvPr/>
        </p:nvSpPr>
        <p:spPr>
          <a:xfrm>
            <a:off x="2364" y="2786940"/>
            <a:ext cx="9144000" cy="40938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6" name="Title 1">
            <a:extLst>
              <a:ext uri="{FF2B5EF4-FFF2-40B4-BE49-F238E27FC236}">
                <a16:creationId xmlns:a16="http://schemas.microsoft.com/office/drawing/2014/main" id="{57886605-4886-4E67-A84D-704A6E9856F3}"/>
              </a:ext>
            </a:extLst>
          </p:cNvPr>
          <p:cNvSpPr txBox="1">
            <a:spLocks/>
          </p:cNvSpPr>
          <p:nvPr/>
        </p:nvSpPr>
        <p:spPr>
          <a:xfrm>
            <a:off x="1394661" y="3186372"/>
            <a:ext cx="1446499" cy="3202608"/>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3600" kern="1200">
                <a:solidFill>
                  <a:schemeClr val="tx1">
                    <a:lumMod val="75000"/>
                    <a:lumOff val="25000"/>
                  </a:schemeClr>
                </a:solidFill>
                <a:latin typeface="Avenir Black" panose="020B0803020203020204" pitchFamily="34" charset="0"/>
                <a:ea typeface="+mj-ea"/>
                <a:cs typeface="+mj-cs"/>
              </a:defRPr>
            </a:lvl1pPr>
          </a:lstStyle>
          <a:p>
            <a:pPr marL="214313" indent="-214313" algn="l">
              <a:buFont typeface="Wingdings"/>
              <a:buChar char="v"/>
            </a:pPr>
            <a:r>
              <a:rPr lang="en-US" sz="1050" dirty="0">
                <a:latin typeface="Segoe UI"/>
                <a:cs typeface="Segoe UI"/>
              </a:rPr>
              <a:t>Traits are present but may not meet full diagnostic criteria.</a:t>
            </a:r>
            <a:endParaRPr lang="en-US" sz="1050" dirty="0"/>
          </a:p>
          <a:p>
            <a:pPr marL="214313" indent="-214313" algn="l">
              <a:buFont typeface="Wingdings"/>
              <a:buChar char="v"/>
            </a:pPr>
            <a:r>
              <a:rPr lang="en-US" sz="1050" dirty="0">
                <a:latin typeface="Segoe UI"/>
                <a:cs typeface="Segoe UI"/>
              </a:rPr>
              <a:t>May struggle with things like social nuance, sensory sensitivities, or executive functioning.</a:t>
            </a:r>
          </a:p>
          <a:p>
            <a:pPr marL="214313" indent="-214313" algn="l">
              <a:buFont typeface="Wingdings"/>
              <a:buChar char="v"/>
            </a:pPr>
            <a:r>
              <a:rPr lang="en-US" sz="1050" dirty="0">
                <a:latin typeface="Segoe UI"/>
                <a:cs typeface="Segoe UI"/>
              </a:rPr>
              <a:t>Often develops personal coping strategies and may not require formal support.</a:t>
            </a:r>
          </a:p>
          <a:p>
            <a:pPr marL="214313" indent="-214313" algn="l">
              <a:buFont typeface="Wingdings"/>
              <a:buChar char="v"/>
            </a:pPr>
            <a:r>
              <a:rPr lang="en-US" sz="1050" dirty="0">
                <a:latin typeface="Segoe UI"/>
                <a:cs typeface="Segoe UI"/>
              </a:rPr>
              <a:t>Example: A person who experiences social anxiety or sensory overwhelm but manages daily life independently.</a:t>
            </a:r>
          </a:p>
          <a:p>
            <a:endParaRPr lang="en-US" sz="1050" dirty="0">
              <a:latin typeface="Avenir" panose="020B0503020203020204" pitchFamily="34" charset="0"/>
            </a:endParaRPr>
          </a:p>
        </p:txBody>
      </p:sp>
      <p:sp>
        <p:nvSpPr>
          <p:cNvPr id="91" name="Title 1">
            <a:extLst>
              <a:ext uri="{FF2B5EF4-FFF2-40B4-BE49-F238E27FC236}">
                <a16:creationId xmlns:a16="http://schemas.microsoft.com/office/drawing/2014/main" id="{4441FE03-D88E-407C-BDAD-1627DD01CF8B}"/>
              </a:ext>
            </a:extLst>
          </p:cNvPr>
          <p:cNvSpPr txBox="1">
            <a:spLocks/>
          </p:cNvSpPr>
          <p:nvPr/>
        </p:nvSpPr>
        <p:spPr>
          <a:xfrm>
            <a:off x="2950520" y="3184229"/>
            <a:ext cx="1367586" cy="3344762"/>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3600" kern="1200">
                <a:solidFill>
                  <a:schemeClr val="tx1">
                    <a:lumMod val="75000"/>
                    <a:lumOff val="25000"/>
                  </a:schemeClr>
                </a:solidFill>
                <a:latin typeface="Avenir Black" panose="020B0803020203020204" pitchFamily="34" charset="0"/>
                <a:ea typeface="+mj-ea"/>
                <a:cs typeface="+mj-cs"/>
              </a:defRPr>
            </a:lvl1pPr>
          </a:lstStyle>
          <a:p>
            <a:pPr marL="214313" indent="-214313" algn="l">
              <a:buFont typeface="Wingdings"/>
              <a:buChar char="v"/>
            </a:pPr>
            <a:r>
              <a:rPr lang="en-US" sz="1050" dirty="0">
                <a:latin typeface="Segoe UI"/>
                <a:cs typeface="Segoe UI"/>
              </a:rPr>
              <a:t>Challenges with initiating and maintaining social interactions.</a:t>
            </a:r>
          </a:p>
          <a:p>
            <a:pPr marL="214313" indent="-214313" algn="l">
              <a:buFont typeface="Wingdings"/>
              <a:buChar char="v"/>
            </a:pPr>
            <a:r>
              <a:rPr lang="en-US" sz="1050" dirty="0">
                <a:latin typeface="Segoe UI"/>
                <a:cs typeface="Segoe UI"/>
              </a:rPr>
              <a:t>May appear socially awkward or rigid in thinking.</a:t>
            </a:r>
          </a:p>
          <a:p>
            <a:pPr marL="214313" indent="-214313" algn="l">
              <a:buFont typeface="Wingdings"/>
              <a:buChar char="v"/>
            </a:pPr>
            <a:r>
              <a:rPr lang="en-US" sz="1050" dirty="0">
                <a:latin typeface="Segoe UI"/>
                <a:cs typeface="Segoe UI"/>
              </a:rPr>
              <a:t>Can manage most daily tasks with minimal support, but may benefit from accommodations (e.g., therapy, structure).</a:t>
            </a:r>
          </a:p>
          <a:p>
            <a:pPr marL="214313" indent="-214313" algn="l">
              <a:buFont typeface="Wingdings"/>
              <a:buChar char="v"/>
            </a:pPr>
            <a:r>
              <a:rPr lang="en-US" sz="1050" b="1" dirty="0">
                <a:latin typeface="Segoe UI"/>
                <a:cs typeface="Segoe UI"/>
              </a:rPr>
              <a:t>Example:</a:t>
            </a:r>
            <a:r>
              <a:rPr lang="en-US" sz="1050" dirty="0">
                <a:latin typeface="Segoe UI"/>
                <a:cs typeface="Segoe UI"/>
              </a:rPr>
              <a:t> A person who works or attends school independently but struggles in unstructured social situations or with change. </a:t>
            </a:r>
          </a:p>
        </p:txBody>
      </p:sp>
      <p:sp>
        <p:nvSpPr>
          <p:cNvPr id="93" name="Title 1">
            <a:extLst>
              <a:ext uri="{FF2B5EF4-FFF2-40B4-BE49-F238E27FC236}">
                <a16:creationId xmlns:a16="http://schemas.microsoft.com/office/drawing/2014/main" id="{84C617B5-B455-4271-9056-631DCFD475B5}"/>
              </a:ext>
            </a:extLst>
          </p:cNvPr>
          <p:cNvSpPr txBox="1">
            <a:spLocks/>
          </p:cNvSpPr>
          <p:nvPr/>
        </p:nvSpPr>
        <p:spPr>
          <a:xfrm>
            <a:off x="4481510" y="3182678"/>
            <a:ext cx="1367586" cy="3638881"/>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3600" kern="1200">
                <a:solidFill>
                  <a:schemeClr val="tx1">
                    <a:lumMod val="75000"/>
                    <a:lumOff val="25000"/>
                  </a:schemeClr>
                </a:solidFill>
                <a:latin typeface="Avenir Black" panose="020B0803020203020204" pitchFamily="34" charset="0"/>
                <a:ea typeface="+mj-ea"/>
                <a:cs typeface="+mj-cs"/>
              </a:defRPr>
            </a:lvl1pPr>
          </a:lstStyle>
          <a:p>
            <a:pPr marL="214313" indent="-214313" algn="l">
              <a:buFont typeface="Wingdings"/>
              <a:buChar char="v"/>
            </a:pPr>
            <a:r>
              <a:rPr lang="en-US" sz="1050" dirty="0">
                <a:latin typeface="Segoe UI"/>
                <a:cs typeface="Segoe UI"/>
              </a:rPr>
              <a:t>Noticeable communication and behavioral differences.</a:t>
            </a:r>
          </a:p>
          <a:p>
            <a:pPr marL="214313" indent="-214313" algn="l">
              <a:buFont typeface="Wingdings"/>
              <a:buChar char="v"/>
            </a:pPr>
            <a:r>
              <a:rPr lang="en-US" sz="1050" dirty="0">
                <a:latin typeface="Segoe UI"/>
                <a:cs typeface="Segoe UI"/>
              </a:rPr>
              <a:t>Difficulty with verbal and nonverbal communication; repetitive behaviors are more pronounced.</a:t>
            </a:r>
          </a:p>
          <a:p>
            <a:pPr marL="214313" indent="-214313" algn="l">
              <a:buFont typeface="Wingdings"/>
              <a:buChar char="v"/>
            </a:pPr>
            <a:r>
              <a:rPr lang="en-US" sz="1050" dirty="0">
                <a:latin typeface="Segoe UI"/>
                <a:cs typeface="Segoe UI"/>
              </a:rPr>
              <a:t>Needs structured environments and regular support for success in school, work, or social settings.</a:t>
            </a:r>
          </a:p>
          <a:p>
            <a:pPr marL="214313" indent="-214313" algn="l">
              <a:buFont typeface="Wingdings"/>
              <a:buChar char="v"/>
            </a:pPr>
            <a:r>
              <a:rPr lang="en-US" sz="1050" b="1" dirty="0">
                <a:latin typeface="Segoe UI"/>
                <a:cs typeface="Segoe UI"/>
              </a:rPr>
              <a:t>Example:</a:t>
            </a:r>
            <a:r>
              <a:rPr lang="en-US" sz="1050" dirty="0">
                <a:latin typeface="Segoe UI"/>
                <a:cs typeface="Segoe UI"/>
              </a:rPr>
              <a:t> A person who may use limited speech, rely on visual supports, and needs help managing daily transitions.</a:t>
            </a:r>
          </a:p>
          <a:p>
            <a:endParaRPr lang="en-US" sz="1050" dirty="0">
              <a:latin typeface="Avenir"/>
            </a:endParaRPr>
          </a:p>
        </p:txBody>
      </p:sp>
      <p:sp>
        <p:nvSpPr>
          <p:cNvPr id="95" name="Title 1">
            <a:extLst>
              <a:ext uri="{FF2B5EF4-FFF2-40B4-BE49-F238E27FC236}">
                <a16:creationId xmlns:a16="http://schemas.microsoft.com/office/drawing/2014/main" id="{13EC9369-8C15-45C2-8CE3-15CA1FF36789}"/>
              </a:ext>
            </a:extLst>
          </p:cNvPr>
          <p:cNvSpPr txBox="1">
            <a:spLocks/>
          </p:cNvSpPr>
          <p:nvPr/>
        </p:nvSpPr>
        <p:spPr>
          <a:xfrm>
            <a:off x="6046118" y="3187073"/>
            <a:ext cx="1367586" cy="3493457"/>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3600" kern="1200">
                <a:solidFill>
                  <a:schemeClr val="tx1">
                    <a:lumMod val="75000"/>
                    <a:lumOff val="25000"/>
                  </a:schemeClr>
                </a:solidFill>
                <a:latin typeface="Avenir Black" panose="020B0803020203020204" pitchFamily="34" charset="0"/>
                <a:ea typeface="+mj-ea"/>
                <a:cs typeface="+mj-cs"/>
              </a:defRPr>
            </a:lvl1pPr>
          </a:lstStyle>
          <a:p>
            <a:pPr marL="214313" indent="-214313" algn="l">
              <a:buFont typeface="Wingdings"/>
              <a:buChar char="v"/>
            </a:pPr>
            <a:r>
              <a:rPr lang="en-US" sz="1050" dirty="0">
                <a:latin typeface="Segoe UI"/>
                <a:cs typeface="Segoe UI"/>
              </a:rPr>
              <a:t>Significant challenges with communication, behavior, and daily living skills.</a:t>
            </a:r>
            <a:endParaRPr lang="en-US" sz="1050" dirty="0"/>
          </a:p>
          <a:p>
            <a:pPr marL="214313" indent="-214313" algn="l">
              <a:buFont typeface="Wingdings"/>
              <a:buChar char="v"/>
            </a:pPr>
            <a:r>
              <a:rPr lang="en-US" sz="1050" dirty="0">
                <a:latin typeface="Segoe UI"/>
                <a:cs typeface="Segoe UI"/>
              </a:rPr>
              <a:t>May be non-speaking or use alternative communication methods.</a:t>
            </a:r>
          </a:p>
          <a:p>
            <a:pPr marL="214313" indent="-214313" algn="l">
              <a:buFont typeface="Wingdings"/>
              <a:buChar char="v"/>
            </a:pPr>
            <a:r>
              <a:rPr lang="en-US" sz="1050" dirty="0">
                <a:latin typeface="Segoe UI"/>
                <a:cs typeface="Segoe UI"/>
              </a:rPr>
              <a:t>Intense support needed for safety, regulation, and functioning across most environments.</a:t>
            </a:r>
          </a:p>
          <a:p>
            <a:pPr marL="214313" indent="-214313" algn="l">
              <a:buFont typeface="Wingdings"/>
              <a:buChar char="v"/>
            </a:pPr>
            <a:r>
              <a:rPr lang="en-US" sz="1050" b="1" dirty="0">
                <a:latin typeface="Segoe UI"/>
                <a:cs typeface="Segoe UI"/>
              </a:rPr>
              <a:t>Example:</a:t>
            </a:r>
            <a:r>
              <a:rPr lang="en-US" sz="1050" dirty="0">
                <a:latin typeface="Segoe UI"/>
                <a:cs typeface="Segoe UI"/>
              </a:rPr>
              <a:t> A person who requires one-on-one support throughout the day for communication, self-care, and learning</a:t>
            </a:r>
            <a:r>
              <a:rPr lang="en-US" sz="900" dirty="0">
                <a:latin typeface="Segoe UI"/>
                <a:cs typeface="Segoe UI"/>
              </a:rPr>
              <a:t>.</a:t>
            </a:r>
          </a:p>
          <a:p>
            <a:endParaRPr lang="en-US" sz="1050" dirty="0">
              <a:latin typeface="Avenir" panose="020B0503020203020204" pitchFamily="34" charset="0"/>
            </a:endParaRPr>
          </a:p>
        </p:txBody>
      </p:sp>
      <p:sp>
        <p:nvSpPr>
          <p:cNvPr id="7189" name="TextBox 7188">
            <a:extLst>
              <a:ext uri="{FF2B5EF4-FFF2-40B4-BE49-F238E27FC236}">
                <a16:creationId xmlns:a16="http://schemas.microsoft.com/office/drawing/2014/main" id="{B25DD52B-627C-4C70-BF58-B1BF5DE84146}"/>
              </a:ext>
            </a:extLst>
          </p:cNvPr>
          <p:cNvSpPr txBox="1"/>
          <p:nvPr/>
        </p:nvSpPr>
        <p:spPr>
          <a:xfrm>
            <a:off x="1310430" y="2783002"/>
            <a:ext cx="1541804" cy="253916"/>
          </a:xfrm>
          <a:prstGeom prst="rect">
            <a:avLst/>
          </a:prstGeom>
          <a:noFill/>
        </p:spPr>
        <p:txBody>
          <a:bodyPr wrap="square" lIns="68580" tIns="34290" rIns="68580" bIns="34290" rtlCol="0" anchor="t">
            <a:spAutoFit/>
          </a:bodyPr>
          <a:lstStyle/>
          <a:p>
            <a:pPr algn="ctr"/>
            <a:r>
              <a:rPr lang="en-US" sz="1200" b="1" dirty="0">
                <a:solidFill>
                  <a:schemeClr val="accent1">
                    <a:lumMod val="40000"/>
                    <a:lumOff val="60000"/>
                  </a:schemeClr>
                </a:solidFill>
              </a:rPr>
              <a:t>LEVEL 0: Subclinical</a:t>
            </a:r>
          </a:p>
        </p:txBody>
      </p:sp>
      <p:sp>
        <p:nvSpPr>
          <p:cNvPr id="108" name="Slide Number Placeholder 5">
            <a:extLst>
              <a:ext uri="{FF2B5EF4-FFF2-40B4-BE49-F238E27FC236}">
                <a16:creationId xmlns:a16="http://schemas.microsoft.com/office/drawing/2014/main" id="{1D3F532A-9A7C-4313-8210-38FD358FDC4C}"/>
              </a:ext>
            </a:extLst>
          </p:cNvPr>
          <p:cNvSpPr>
            <a:spLocks noGrp="1"/>
          </p:cNvSpPr>
          <p:nvPr>
            <p:ph type="sldNum" sz="quarter" idx="4"/>
          </p:nvPr>
        </p:nvSpPr>
        <p:spPr>
          <a:xfrm>
            <a:off x="10591798" y="6423127"/>
            <a:ext cx="762001" cy="222250"/>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980692-5CF5-4477-9CC7-CF761597EE5F}" type="slidenum">
              <a:rPr lang="en-US" smtClean="0"/>
              <a:pPr/>
              <a:t>4</a:t>
            </a:fld>
            <a:endParaRPr lang="en-US" dirty="0">
              <a:solidFill>
                <a:schemeClr val="bg1"/>
              </a:solidFill>
            </a:endParaRPr>
          </a:p>
        </p:txBody>
      </p:sp>
      <p:sp>
        <p:nvSpPr>
          <p:cNvPr id="109" name="Rectangle: Rounded Corners 108">
            <a:extLst>
              <a:ext uri="{FF2B5EF4-FFF2-40B4-BE49-F238E27FC236}">
                <a16:creationId xmlns:a16="http://schemas.microsoft.com/office/drawing/2014/main" id="{913335A0-13A5-4345-904C-A300271EDA44}"/>
              </a:ext>
            </a:extLst>
          </p:cNvPr>
          <p:cNvSpPr/>
          <p:nvPr/>
        </p:nvSpPr>
        <p:spPr>
          <a:xfrm>
            <a:off x="7943850" y="5678090"/>
            <a:ext cx="571500" cy="166688"/>
          </a:xfrm>
          <a:prstGeom prst="roundRect">
            <a:avLst>
              <a:gd name="adj" fmla="val 50000"/>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10" name="Straight Connector 109">
            <a:extLst>
              <a:ext uri="{FF2B5EF4-FFF2-40B4-BE49-F238E27FC236}">
                <a16:creationId xmlns:a16="http://schemas.microsoft.com/office/drawing/2014/main" id="{98C1909B-1B31-4561-9BFB-75F41FE34C63}"/>
              </a:ext>
            </a:extLst>
          </p:cNvPr>
          <p:cNvCxnSpPr>
            <a:cxnSpLocks/>
          </p:cNvCxnSpPr>
          <p:nvPr/>
        </p:nvCxnSpPr>
        <p:spPr>
          <a:xfrm flipH="1" flipV="1">
            <a:off x="-19211" y="6880755"/>
            <a:ext cx="7943850" cy="11673"/>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2F4B03CD-6CBD-4497-8447-1CBC61964FB6}"/>
              </a:ext>
            </a:extLst>
          </p:cNvPr>
          <p:cNvCxnSpPr>
            <a:cxnSpLocks/>
          </p:cNvCxnSpPr>
          <p:nvPr/>
        </p:nvCxnSpPr>
        <p:spPr>
          <a:xfrm flipH="1">
            <a:off x="8515350" y="5760654"/>
            <a:ext cx="628651" cy="1"/>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E4E88A8A-ECDC-464F-894B-EEBC836CD297}"/>
              </a:ext>
            </a:extLst>
          </p:cNvPr>
          <p:cNvSpPr txBox="1"/>
          <p:nvPr/>
        </p:nvSpPr>
        <p:spPr>
          <a:xfrm>
            <a:off x="2842259" y="2745647"/>
            <a:ext cx="1541804" cy="438582"/>
          </a:xfrm>
          <a:prstGeom prst="rect">
            <a:avLst/>
          </a:prstGeom>
          <a:noFill/>
        </p:spPr>
        <p:txBody>
          <a:bodyPr wrap="square" lIns="68580" tIns="34290" rIns="68580" bIns="34290" rtlCol="0" anchor="t">
            <a:spAutoFit/>
          </a:bodyPr>
          <a:lstStyle/>
          <a:p>
            <a:pPr algn="ctr"/>
            <a:r>
              <a:rPr lang="en-US" sz="1200" b="1" dirty="0">
                <a:solidFill>
                  <a:schemeClr val="accent1">
                    <a:lumMod val="60000"/>
                    <a:lumOff val="40000"/>
                  </a:schemeClr>
                </a:solidFill>
              </a:rPr>
              <a:t>LEVEL 1: Requiring Support</a:t>
            </a:r>
          </a:p>
        </p:txBody>
      </p:sp>
      <p:sp>
        <p:nvSpPr>
          <p:cNvPr id="119" name="TextBox 118">
            <a:extLst>
              <a:ext uri="{FF2B5EF4-FFF2-40B4-BE49-F238E27FC236}">
                <a16:creationId xmlns:a16="http://schemas.microsoft.com/office/drawing/2014/main" id="{42F19BBD-6487-48F9-B380-E33035CF1B99}"/>
              </a:ext>
            </a:extLst>
          </p:cNvPr>
          <p:cNvSpPr txBox="1"/>
          <p:nvPr/>
        </p:nvSpPr>
        <p:spPr>
          <a:xfrm>
            <a:off x="4405803" y="2742609"/>
            <a:ext cx="1541804" cy="438582"/>
          </a:xfrm>
          <a:prstGeom prst="rect">
            <a:avLst/>
          </a:prstGeom>
          <a:noFill/>
        </p:spPr>
        <p:txBody>
          <a:bodyPr wrap="square" lIns="68580" tIns="34290" rIns="68580" bIns="34290" rtlCol="0" anchor="t">
            <a:spAutoFit/>
          </a:bodyPr>
          <a:lstStyle/>
          <a:p>
            <a:pPr algn="ctr"/>
            <a:r>
              <a:rPr lang="en-US" sz="1200" b="1" dirty="0">
                <a:solidFill>
                  <a:schemeClr val="accent1"/>
                </a:solidFill>
                <a:ea typeface="+mn-lt"/>
                <a:cs typeface="+mn-lt"/>
              </a:rPr>
              <a:t>LEVEL 2: Requiring Substantial Support</a:t>
            </a:r>
            <a:endParaRPr lang="en-US" sz="1200" b="1" dirty="0">
              <a:solidFill>
                <a:schemeClr val="accent1"/>
              </a:solidFill>
            </a:endParaRPr>
          </a:p>
        </p:txBody>
      </p:sp>
      <p:sp>
        <p:nvSpPr>
          <p:cNvPr id="120" name="TextBox 119">
            <a:extLst>
              <a:ext uri="{FF2B5EF4-FFF2-40B4-BE49-F238E27FC236}">
                <a16:creationId xmlns:a16="http://schemas.microsoft.com/office/drawing/2014/main" id="{D9C69189-BA10-4E28-ACCE-53DA7E8CDDB7}"/>
              </a:ext>
            </a:extLst>
          </p:cNvPr>
          <p:cNvSpPr txBox="1"/>
          <p:nvPr/>
        </p:nvSpPr>
        <p:spPr>
          <a:xfrm>
            <a:off x="5898664" y="2736433"/>
            <a:ext cx="1633052" cy="438582"/>
          </a:xfrm>
          <a:prstGeom prst="rect">
            <a:avLst/>
          </a:prstGeom>
          <a:noFill/>
        </p:spPr>
        <p:txBody>
          <a:bodyPr wrap="square" lIns="68580" tIns="34290" rIns="68580" bIns="34290" rtlCol="0" anchor="t">
            <a:spAutoFit/>
          </a:bodyPr>
          <a:lstStyle/>
          <a:p>
            <a:pPr algn="ctr"/>
            <a:r>
              <a:rPr lang="en-US" sz="1200" b="1" dirty="0">
                <a:solidFill>
                  <a:schemeClr val="accent1">
                    <a:lumMod val="75000"/>
                  </a:schemeClr>
                </a:solidFill>
              </a:rPr>
              <a:t>LEVEL 3: Requiring Very Substantial Support</a:t>
            </a:r>
          </a:p>
        </p:txBody>
      </p:sp>
      <p:cxnSp>
        <p:nvCxnSpPr>
          <p:cNvPr id="7197" name="Straight Connector 7196">
            <a:extLst>
              <a:ext uri="{FF2B5EF4-FFF2-40B4-BE49-F238E27FC236}">
                <a16:creationId xmlns:a16="http://schemas.microsoft.com/office/drawing/2014/main" id="{DA94096A-C852-46CE-849C-67384E1DB1AC}"/>
              </a:ext>
            </a:extLst>
          </p:cNvPr>
          <p:cNvCxnSpPr/>
          <p:nvPr/>
        </p:nvCxnSpPr>
        <p:spPr>
          <a:xfrm>
            <a:off x="2818391" y="3526932"/>
            <a:ext cx="0" cy="1825699"/>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3FC9C7A-B9A8-4C18-B6B6-5FFC5434343A}"/>
              </a:ext>
            </a:extLst>
          </p:cNvPr>
          <p:cNvCxnSpPr/>
          <p:nvPr/>
        </p:nvCxnSpPr>
        <p:spPr>
          <a:xfrm>
            <a:off x="4382999" y="3526932"/>
            <a:ext cx="0" cy="1825699"/>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264466A5-F77B-417E-80F2-DF51B0D77E10}"/>
              </a:ext>
            </a:extLst>
          </p:cNvPr>
          <p:cNvCxnSpPr/>
          <p:nvPr/>
        </p:nvCxnSpPr>
        <p:spPr>
          <a:xfrm>
            <a:off x="5947607" y="3526932"/>
            <a:ext cx="0" cy="1825699"/>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9308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76250" y="640823"/>
            <a:ext cx="2563994" cy="5583148"/>
          </a:xfrm>
        </p:spPr>
        <p:txBody>
          <a:bodyPr anchor="ctr">
            <a:normAutofit/>
          </a:bodyPr>
          <a:lstStyle/>
          <a:p>
            <a:r>
              <a:rPr lang="en-US" sz="4700"/>
              <a:t>What Is ABA?</a:t>
            </a:r>
          </a:p>
        </p:txBody>
      </p:sp>
      <p:sp>
        <p:nvSpPr>
          <p:cNvPr id="11"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44313" y="3465005"/>
            <a:ext cx="5410200" cy="13716"/>
          </a:xfrm>
          <a:custGeom>
            <a:avLst/>
            <a:gdLst>
              <a:gd name="connsiteX0" fmla="*/ 0 w 5410200"/>
              <a:gd name="connsiteY0" fmla="*/ 0 h 13716"/>
              <a:gd name="connsiteX1" fmla="*/ 568071 w 5410200"/>
              <a:gd name="connsiteY1" fmla="*/ 0 h 13716"/>
              <a:gd name="connsiteX2" fmla="*/ 1298448 w 5410200"/>
              <a:gd name="connsiteY2" fmla="*/ 0 h 13716"/>
              <a:gd name="connsiteX3" fmla="*/ 1920621 w 5410200"/>
              <a:gd name="connsiteY3" fmla="*/ 0 h 13716"/>
              <a:gd name="connsiteX4" fmla="*/ 2488692 w 5410200"/>
              <a:gd name="connsiteY4" fmla="*/ 0 h 13716"/>
              <a:gd name="connsiteX5" fmla="*/ 3219069 w 5410200"/>
              <a:gd name="connsiteY5" fmla="*/ 0 h 13716"/>
              <a:gd name="connsiteX6" fmla="*/ 3895344 w 5410200"/>
              <a:gd name="connsiteY6" fmla="*/ 0 h 13716"/>
              <a:gd name="connsiteX7" fmla="*/ 4571619 w 5410200"/>
              <a:gd name="connsiteY7" fmla="*/ 0 h 13716"/>
              <a:gd name="connsiteX8" fmla="*/ 5410200 w 5410200"/>
              <a:gd name="connsiteY8" fmla="*/ 0 h 13716"/>
              <a:gd name="connsiteX9" fmla="*/ 5410200 w 5410200"/>
              <a:gd name="connsiteY9" fmla="*/ 13716 h 13716"/>
              <a:gd name="connsiteX10" fmla="*/ 4842129 w 5410200"/>
              <a:gd name="connsiteY10" fmla="*/ 13716 h 13716"/>
              <a:gd name="connsiteX11" fmla="*/ 4328160 w 5410200"/>
              <a:gd name="connsiteY11" fmla="*/ 13716 h 13716"/>
              <a:gd name="connsiteX12" fmla="*/ 3597783 w 5410200"/>
              <a:gd name="connsiteY12" fmla="*/ 13716 h 13716"/>
              <a:gd name="connsiteX13" fmla="*/ 3029712 w 5410200"/>
              <a:gd name="connsiteY13" fmla="*/ 13716 h 13716"/>
              <a:gd name="connsiteX14" fmla="*/ 2299335 w 5410200"/>
              <a:gd name="connsiteY14" fmla="*/ 13716 h 13716"/>
              <a:gd name="connsiteX15" fmla="*/ 1514856 w 5410200"/>
              <a:gd name="connsiteY15" fmla="*/ 13716 h 13716"/>
              <a:gd name="connsiteX16" fmla="*/ 892683 w 5410200"/>
              <a:gd name="connsiteY16" fmla="*/ 13716 h 13716"/>
              <a:gd name="connsiteX17" fmla="*/ 0 w 5410200"/>
              <a:gd name="connsiteY17" fmla="*/ 13716 h 13716"/>
              <a:gd name="connsiteX18" fmla="*/ 0 w 5410200"/>
              <a:gd name="connsiteY18"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3716"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09587" y="2854"/>
                  <a:pt x="5409791" y="9451"/>
                  <a:pt x="5410200" y="13716"/>
                </a:cubicBezTo>
                <a:cubicBezTo>
                  <a:pt x="5139060" y="2179"/>
                  <a:pt x="5121593" y="26463"/>
                  <a:pt x="4842129" y="13716"/>
                </a:cubicBezTo>
                <a:cubicBezTo>
                  <a:pt x="4562665" y="969"/>
                  <a:pt x="4448273" y="4915"/>
                  <a:pt x="4328160" y="13716"/>
                </a:cubicBezTo>
                <a:cubicBezTo>
                  <a:pt x="4208047" y="22517"/>
                  <a:pt x="3760936" y="17995"/>
                  <a:pt x="3597783" y="13716"/>
                </a:cubicBezTo>
                <a:cubicBezTo>
                  <a:pt x="3434630" y="9437"/>
                  <a:pt x="3299718" y="28641"/>
                  <a:pt x="3029712" y="13716"/>
                </a:cubicBezTo>
                <a:cubicBezTo>
                  <a:pt x="2759706" y="-1209"/>
                  <a:pt x="2640159" y="22822"/>
                  <a:pt x="2299335" y="13716"/>
                </a:cubicBezTo>
                <a:cubicBezTo>
                  <a:pt x="1958511" y="4610"/>
                  <a:pt x="1801186" y="24413"/>
                  <a:pt x="1514856" y="13716"/>
                </a:cubicBezTo>
                <a:cubicBezTo>
                  <a:pt x="1228526" y="3019"/>
                  <a:pt x="1063509" y="-9877"/>
                  <a:pt x="892683" y="13716"/>
                </a:cubicBezTo>
                <a:cubicBezTo>
                  <a:pt x="721857" y="37309"/>
                  <a:pt x="186945" y="-25469"/>
                  <a:pt x="0" y="13716"/>
                </a:cubicBezTo>
                <a:cubicBezTo>
                  <a:pt x="-342" y="9537"/>
                  <a:pt x="-97" y="6817"/>
                  <a:pt x="0" y="0"/>
                </a:cubicBezTo>
                <a:close/>
              </a:path>
              <a:path w="5410200" h="13716"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10660" y="2787"/>
                  <a:pt x="5410166" y="9748"/>
                  <a:pt x="5410200" y="13716"/>
                </a:cubicBezTo>
                <a:cubicBezTo>
                  <a:pt x="5163327" y="36922"/>
                  <a:pt x="5008749" y="6121"/>
                  <a:pt x="4842129" y="13716"/>
                </a:cubicBezTo>
                <a:cubicBezTo>
                  <a:pt x="4675509" y="21311"/>
                  <a:pt x="4433401" y="-5187"/>
                  <a:pt x="4165854" y="13716"/>
                </a:cubicBezTo>
                <a:cubicBezTo>
                  <a:pt x="3898308" y="32619"/>
                  <a:pt x="3809032" y="-13282"/>
                  <a:pt x="3543681" y="13716"/>
                </a:cubicBezTo>
                <a:cubicBezTo>
                  <a:pt x="3278330" y="40714"/>
                  <a:pt x="3073876" y="-20489"/>
                  <a:pt x="2759202" y="13716"/>
                </a:cubicBezTo>
                <a:cubicBezTo>
                  <a:pt x="2444528" y="47921"/>
                  <a:pt x="2204144" y="-1200"/>
                  <a:pt x="1974723" y="13716"/>
                </a:cubicBezTo>
                <a:cubicBezTo>
                  <a:pt x="1745302" y="28632"/>
                  <a:pt x="1602335" y="26918"/>
                  <a:pt x="1406652" y="13716"/>
                </a:cubicBezTo>
                <a:cubicBezTo>
                  <a:pt x="1210969" y="514"/>
                  <a:pt x="923948" y="-1411"/>
                  <a:pt x="730377" y="13716"/>
                </a:cubicBezTo>
                <a:cubicBezTo>
                  <a:pt x="536806" y="28843"/>
                  <a:pt x="336496" y="-4713"/>
                  <a:pt x="0" y="13716"/>
                </a:cubicBezTo>
                <a:cubicBezTo>
                  <a:pt x="-535" y="9547"/>
                  <a:pt x="488" y="451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2">
            <a:extLst>
              <a:ext uri="{FF2B5EF4-FFF2-40B4-BE49-F238E27FC236}">
                <a16:creationId xmlns:a16="http://schemas.microsoft.com/office/drawing/2014/main" id="{F7B93170-185F-F451-D4BA-5A54BBB84FB6}"/>
              </a:ext>
            </a:extLst>
          </p:cNvPr>
          <p:cNvGraphicFramePr>
            <a:graphicFrameLocks noGrp="1"/>
          </p:cNvGraphicFramePr>
          <p:nvPr>
            <p:ph idx="1"/>
            <p:extLst>
              <p:ext uri="{D42A27DB-BD31-4B8C-83A1-F6EECF244321}">
                <p14:modId xmlns:p14="http://schemas.microsoft.com/office/powerpoint/2010/main" val="1898742089"/>
              </p:ext>
            </p:extLst>
          </p:nvPr>
        </p:nvGraphicFramePr>
        <p:xfrm>
          <a:off x="3486013" y="640822"/>
          <a:ext cx="5175384" cy="5536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07C9CA2-9085-3299-9AD5-302CC52A5D9F}"/>
              </a:ext>
            </a:extLst>
          </p:cNvPr>
          <p:cNvPicPr>
            <a:picLocks noChangeAspect="1"/>
          </p:cNvPicPr>
          <p:nvPr/>
        </p:nvPicPr>
        <p:blipFill>
          <a:blip r:embed="rId2">
            <a:duotone>
              <a:schemeClr val="bg2">
                <a:shade val="45000"/>
                <a:satMod val="135000"/>
              </a:schemeClr>
              <a:prstClr val="white"/>
            </a:duotone>
          </a:blip>
          <a:srcRect l="535" r="10464" b="-1"/>
          <a:stretch/>
        </p:blipFill>
        <p:spPr>
          <a:xfrm>
            <a:off x="20" y="10"/>
            <a:ext cx="9143980" cy="6857990"/>
          </a:xfrm>
          <a:prstGeom prst="rect">
            <a:avLst/>
          </a:prstGeom>
        </p:spPr>
      </p:pic>
      <p:sp>
        <p:nvSpPr>
          <p:cNvPr id="10" name="Rectangle 9">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8650" y="365125"/>
            <a:ext cx="7886700" cy="1325563"/>
          </a:xfrm>
        </p:spPr>
        <p:txBody>
          <a:bodyPr>
            <a:normAutofit/>
          </a:bodyPr>
          <a:lstStyle/>
          <a:p>
            <a:r>
              <a:rPr lang="en-US"/>
              <a:t>Key Principles of ABA</a:t>
            </a:r>
          </a:p>
        </p:txBody>
      </p:sp>
      <p:graphicFrame>
        <p:nvGraphicFramePr>
          <p:cNvPr id="5" name="Content Placeholder 2">
            <a:extLst>
              <a:ext uri="{FF2B5EF4-FFF2-40B4-BE49-F238E27FC236}">
                <a16:creationId xmlns:a16="http://schemas.microsoft.com/office/drawing/2014/main" id="{F8FE9699-92DD-2D55-A981-79000B17C283}"/>
              </a:ext>
            </a:extLst>
          </p:cNvPr>
          <p:cNvGraphicFramePr>
            <a:graphicFrameLocks noGrp="1"/>
          </p:cNvGraphicFramePr>
          <p:nvPr>
            <p:ph idx="1"/>
            <p:extLst>
              <p:ext uri="{D42A27DB-BD31-4B8C-83A1-F6EECF244321}">
                <p14:modId xmlns:p14="http://schemas.microsoft.com/office/powerpoint/2010/main" val="581702773"/>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88CEE6E9-29B3-6DC8-19F2-C123370F1609}"/>
              </a:ext>
            </a:extLst>
          </p:cNvPr>
          <p:cNvPicPr>
            <a:picLocks noChangeAspect="1"/>
          </p:cNvPicPr>
          <p:nvPr/>
        </p:nvPicPr>
        <p:blipFill>
          <a:blip r:embed="rId2">
            <a:duotone>
              <a:schemeClr val="bg2">
                <a:shade val="45000"/>
                <a:satMod val="135000"/>
              </a:schemeClr>
              <a:prstClr val="white"/>
            </a:duotone>
          </a:blip>
          <a:srcRect t="13043"/>
          <a:stretch>
            <a:fillRect/>
          </a:stretch>
        </p:blipFill>
        <p:spPr>
          <a:xfrm>
            <a:off x="20" y="10"/>
            <a:ext cx="9143980" cy="6857990"/>
          </a:xfrm>
          <a:prstGeom prst="rect">
            <a:avLst/>
          </a:prstGeom>
        </p:spPr>
      </p:pic>
      <p:sp>
        <p:nvSpPr>
          <p:cNvPr id="34" name="Rectangle 33">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8650" y="365125"/>
            <a:ext cx="7886700" cy="1325563"/>
          </a:xfrm>
        </p:spPr>
        <p:txBody>
          <a:bodyPr>
            <a:normAutofit/>
          </a:bodyPr>
          <a:lstStyle/>
          <a:p>
            <a:pPr>
              <a:lnSpc>
                <a:spcPct val="90000"/>
              </a:lnSpc>
            </a:pPr>
            <a:r>
              <a:rPr lang="en-US"/>
              <a:t>Addressing Common Misconceptions</a:t>
            </a:r>
          </a:p>
        </p:txBody>
      </p:sp>
      <p:graphicFrame>
        <p:nvGraphicFramePr>
          <p:cNvPr id="5" name="Content Placeholder 2">
            <a:extLst>
              <a:ext uri="{FF2B5EF4-FFF2-40B4-BE49-F238E27FC236}">
                <a16:creationId xmlns:a16="http://schemas.microsoft.com/office/drawing/2014/main" id="{7169C048-3464-100B-4D3A-9EAB0A22D832}"/>
              </a:ext>
            </a:extLst>
          </p:cNvPr>
          <p:cNvGraphicFramePr>
            <a:graphicFrameLocks noGrp="1"/>
          </p:cNvGraphicFramePr>
          <p:nvPr>
            <p:ph idx="1"/>
            <p:extLst>
              <p:ext uri="{D42A27DB-BD31-4B8C-83A1-F6EECF244321}">
                <p14:modId xmlns:p14="http://schemas.microsoft.com/office/powerpoint/2010/main" val="2285876581"/>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8DED6BC-9A3E-48D4-AD7C-A56D63F547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6B6E033A-DB2E-49B8-B600-B38E0C2802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9926" y="1371600"/>
            <a:ext cx="3396984" cy="3589977"/>
          </a:xfrm>
          <a:custGeom>
            <a:avLst/>
            <a:gdLst>
              <a:gd name="connsiteX0" fmla="*/ 5462602 w 5470628"/>
              <a:gd name="connsiteY0" fmla="*/ 1413608 h 3193741"/>
              <a:gd name="connsiteX1" fmla="*/ 5465724 w 5470628"/>
              <a:gd name="connsiteY1" fmla="*/ 1421881 h 3193741"/>
              <a:gd name="connsiteX2" fmla="*/ 5465025 w 5470628"/>
              <a:gd name="connsiteY2" fmla="*/ 1466556 h 3193741"/>
              <a:gd name="connsiteX3" fmla="*/ 5463208 w 5470628"/>
              <a:gd name="connsiteY3" fmla="*/ 1466226 h 3193741"/>
              <a:gd name="connsiteX4" fmla="*/ 5463242 w 5470628"/>
              <a:gd name="connsiteY4" fmla="*/ 1451866 h 3193741"/>
              <a:gd name="connsiteX5" fmla="*/ 5462894 w 5470628"/>
              <a:gd name="connsiteY5" fmla="*/ 1423194 h 3193741"/>
              <a:gd name="connsiteX6" fmla="*/ 5461417 w 5470628"/>
              <a:gd name="connsiteY6" fmla="*/ 1391849 h 3193741"/>
              <a:gd name="connsiteX7" fmla="*/ 5462246 w 5470628"/>
              <a:gd name="connsiteY7" fmla="*/ 1401944 h 3193741"/>
              <a:gd name="connsiteX8" fmla="*/ 5462602 w 5470628"/>
              <a:gd name="connsiteY8" fmla="*/ 1413608 h 3193741"/>
              <a:gd name="connsiteX9" fmla="*/ 5459078 w 5470628"/>
              <a:gd name="connsiteY9" fmla="*/ 1404268 h 3193741"/>
              <a:gd name="connsiteX10" fmla="*/ 5460137 w 5470628"/>
              <a:gd name="connsiteY10" fmla="*/ 1393780 h 3193741"/>
              <a:gd name="connsiteX11" fmla="*/ 5461417 w 5470628"/>
              <a:gd name="connsiteY11" fmla="*/ 1391849 h 3193741"/>
              <a:gd name="connsiteX12" fmla="*/ 614271 w 5470628"/>
              <a:gd name="connsiteY12" fmla="*/ 1052206 h 3193741"/>
              <a:gd name="connsiteX13" fmla="*/ 611497 w 5470628"/>
              <a:gd name="connsiteY13" fmla="*/ 1055389 h 3193741"/>
              <a:gd name="connsiteX14" fmla="*/ 630277 w 5470628"/>
              <a:gd name="connsiteY14" fmla="*/ 1065215 h 3193741"/>
              <a:gd name="connsiteX15" fmla="*/ 651856 w 5470628"/>
              <a:gd name="connsiteY15" fmla="*/ 1067584 h 3193741"/>
              <a:gd name="connsiteX16" fmla="*/ 614271 w 5470628"/>
              <a:gd name="connsiteY16" fmla="*/ 1052206 h 3193741"/>
              <a:gd name="connsiteX17" fmla="*/ 810628 w 5470628"/>
              <a:gd name="connsiteY17" fmla="*/ 695550 h 3193741"/>
              <a:gd name="connsiteX18" fmla="*/ 1033084 w 5470628"/>
              <a:gd name="connsiteY18" fmla="*/ 791270 h 3193741"/>
              <a:gd name="connsiteX19" fmla="*/ 1036153 w 5470628"/>
              <a:gd name="connsiteY19" fmla="*/ 788050 h 3193741"/>
              <a:gd name="connsiteX20" fmla="*/ 810628 w 5470628"/>
              <a:gd name="connsiteY20" fmla="*/ 695550 h 3193741"/>
              <a:gd name="connsiteX21" fmla="*/ 4850908 w 5470628"/>
              <a:gd name="connsiteY21" fmla="*/ 727 h 3193741"/>
              <a:gd name="connsiteX22" fmla="*/ 4858584 w 5470628"/>
              <a:gd name="connsiteY22" fmla="*/ 13795 h 3193741"/>
              <a:gd name="connsiteX23" fmla="*/ 4843408 w 5470628"/>
              <a:gd name="connsiteY23" fmla="*/ 37224 h 3193741"/>
              <a:gd name="connsiteX24" fmla="*/ 4871062 w 5470628"/>
              <a:gd name="connsiteY24" fmla="*/ 78954 h 3193741"/>
              <a:gd name="connsiteX25" fmla="*/ 4989038 w 5470628"/>
              <a:gd name="connsiteY25" fmla="*/ 66799 h 3193741"/>
              <a:gd name="connsiteX26" fmla="*/ 5002636 w 5470628"/>
              <a:gd name="connsiteY26" fmla="*/ 79388 h 3193741"/>
              <a:gd name="connsiteX27" fmla="*/ 5008332 w 5470628"/>
              <a:gd name="connsiteY27" fmla="*/ 140859 h 3193741"/>
              <a:gd name="connsiteX28" fmla="*/ 5014326 w 5470628"/>
              <a:gd name="connsiteY28" fmla="*/ 155555 h 3193741"/>
              <a:gd name="connsiteX29" fmla="*/ 5030704 w 5470628"/>
              <a:gd name="connsiteY29" fmla="*/ 221190 h 3193741"/>
              <a:gd name="connsiteX30" fmla="*/ 5097262 w 5470628"/>
              <a:gd name="connsiteY30" fmla="*/ 317759 h 3193741"/>
              <a:gd name="connsiteX31" fmla="*/ 5165084 w 5470628"/>
              <a:gd name="connsiteY31" fmla="*/ 373367 h 3193741"/>
              <a:gd name="connsiteX32" fmla="*/ 5174137 w 5470628"/>
              <a:gd name="connsiteY32" fmla="*/ 389353 h 3193741"/>
              <a:gd name="connsiteX33" fmla="*/ 5192507 w 5470628"/>
              <a:gd name="connsiteY33" fmla="*/ 453561 h 3193741"/>
              <a:gd name="connsiteX34" fmla="*/ 5187160 w 5470628"/>
              <a:gd name="connsiteY34" fmla="*/ 467732 h 3193741"/>
              <a:gd name="connsiteX35" fmla="*/ 5160106 w 5470628"/>
              <a:gd name="connsiteY35" fmla="*/ 486904 h 3193741"/>
              <a:gd name="connsiteX36" fmla="*/ 5138948 w 5470628"/>
              <a:gd name="connsiteY36" fmla="*/ 528614 h 3193741"/>
              <a:gd name="connsiteX37" fmla="*/ 5097016 w 5470628"/>
              <a:gd name="connsiteY37" fmla="*/ 589923 h 3193741"/>
              <a:gd name="connsiteX38" fmla="*/ 5075869 w 5470628"/>
              <a:gd name="connsiteY38" fmla="*/ 608381 h 3193741"/>
              <a:gd name="connsiteX39" fmla="*/ 5093172 w 5470628"/>
              <a:gd name="connsiteY39" fmla="*/ 618385 h 3193741"/>
              <a:gd name="connsiteX40" fmla="*/ 5153518 w 5470628"/>
              <a:gd name="connsiteY40" fmla="*/ 687474 h 3193741"/>
              <a:gd name="connsiteX41" fmla="*/ 5074984 w 5470628"/>
              <a:gd name="connsiteY41" fmla="*/ 776941 h 3193741"/>
              <a:gd name="connsiteX42" fmla="*/ 5033348 w 5470628"/>
              <a:gd name="connsiteY42" fmla="*/ 805473 h 3193741"/>
              <a:gd name="connsiteX43" fmla="*/ 5116847 w 5470628"/>
              <a:gd name="connsiteY43" fmla="*/ 803426 h 3193741"/>
              <a:gd name="connsiteX44" fmla="*/ 5147902 w 5470628"/>
              <a:gd name="connsiteY44" fmla="*/ 833118 h 3193741"/>
              <a:gd name="connsiteX45" fmla="*/ 5161665 w 5470628"/>
              <a:gd name="connsiteY45" fmla="*/ 848297 h 3193741"/>
              <a:gd name="connsiteX46" fmla="*/ 5246520 w 5470628"/>
              <a:gd name="connsiteY46" fmla="*/ 942412 h 3193741"/>
              <a:gd name="connsiteX47" fmla="*/ 5235368 w 5470628"/>
              <a:gd name="connsiteY47" fmla="*/ 972946 h 3193741"/>
              <a:gd name="connsiteX48" fmla="*/ 5113739 w 5470628"/>
              <a:gd name="connsiteY48" fmla="*/ 1128845 h 3193741"/>
              <a:gd name="connsiteX49" fmla="*/ 5255034 w 5470628"/>
              <a:gd name="connsiteY49" fmla="*/ 1151117 h 3193741"/>
              <a:gd name="connsiteX50" fmla="*/ 5267513 w 5470628"/>
              <a:gd name="connsiteY50" fmla="*/ 1216275 h 3193741"/>
              <a:gd name="connsiteX51" fmla="*/ 5343113 w 5470628"/>
              <a:gd name="connsiteY51" fmla="*/ 1281854 h 3193741"/>
              <a:gd name="connsiteX52" fmla="*/ 5452014 w 5470628"/>
              <a:gd name="connsiteY52" fmla="*/ 1385543 h 3193741"/>
              <a:gd name="connsiteX53" fmla="*/ 5459078 w 5470628"/>
              <a:gd name="connsiteY53" fmla="*/ 1404268 h 3193741"/>
              <a:gd name="connsiteX54" fmla="*/ 5458838 w 5470628"/>
              <a:gd name="connsiteY54" fmla="*/ 1406644 h 3193741"/>
              <a:gd name="connsiteX55" fmla="*/ 5455752 w 5470628"/>
              <a:gd name="connsiteY55" fmla="*/ 1450751 h 3193741"/>
              <a:gd name="connsiteX56" fmla="*/ 5454594 w 5470628"/>
              <a:gd name="connsiteY56" fmla="*/ 1464662 h 3193741"/>
              <a:gd name="connsiteX57" fmla="*/ 5447215 w 5470628"/>
              <a:gd name="connsiteY57" fmla="*/ 1463321 h 3193741"/>
              <a:gd name="connsiteX58" fmla="*/ 5433934 w 5470628"/>
              <a:gd name="connsiteY58" fmla="*/ 1458428 h 3193741"/>
              <a:gd name="connsiteX59" fmla="*/ 5424276 w 5470628"/>
              <a:gd name="connsiteY59" fmla="*/ 1477014 h 3193741"/>
              <a:gd name="connsiteX60" fmla="*/ 5444628 w 5470628"/>
              <a:gd name="connsiteY60" fmla="*/ 1511562 h 3193741"/>
              <a:gd name="connsiteX61" fmla="*/ 5453752 w 5470628"/>
              <a:gd name="connsiteY61" fmla="*/ 1474786 h 3193741"/>
              <a:gd name="connsiteX62" fmla="*/ 5454594 w 5470628"/>
              <a:gd name="connsiteY62" fmla="*/ 1464662 h 3193741"/>
              <a:gd name="connsiteX63" fmla="*/ 5463208 w 5470628"/>
              <a:gd name="connsiteY63" fmla="*/ 1466226 h 3193741"/>
              <a:gd name="connsiteX64" fmla="*/ 5463164 w 5470628"/>
              <a:gd name="connsiteY64" fmla="*/ 1484226 h 3193741"/>
              <a:gd name="connsiteX65" fmla="*/ 5456160 w 5470628"/>
              <a:gd name="connsiteY65" fmla="*/ 1575885 h 3193741"/>
              <a:gd name="connsiteX66" fmla="*/ 5345636 w 5470628"/>
              <a:gd name="connsiteY66" fmla="*/ 1714543 h 3193741"/>
              <a:gd name="connsiteX67" fmla="*/ 5251319 w 5470628"/>
              <a:gd name="connsiteY67" fmla="*/ 1775792 h 3193741"/>
              <a:gd name="connsiteX68" fmla="*/ 5043512 w 5470628"/>
              <a:gd name="connsiteY68" fmla="*/ 2027305 h 3193741"/>
              <a:gd name="connsiteX69" fmla="*/ 4978144 w 5470628"/>
              <a:gd name="connsiteY69" fmla="*/ 2108535 h 3193741"/>
              <a:gd name="connsiteX70" fmla="*/ 5031476 w 5470628"/>
              <a:gd name="connsiteY70" fmla="*/ 2128173 h 3193741"/>
              <a:gd name="connsiteX71" fmla="*/ 4937389 w 5470628"/>
              <a:gd name="connsiteY71" fmla="*/ 2216441 h 3193741"/>
              <a:gd name="connsiteX72" fmla="*/ 4826122 w 5470628"/>
              <a:gd name="connsiteY72" fmla="*/ 2315331 h 3193741"/>
              <a:gd name="connsiteX73" fmla="*/ 2544647 w 5470628"/>
              <a:gd name="connsiteY73" fmla="*/ 3190975 h 3193741"/>
              <a:gd name="connsiteX74" fmla="*/ 1328257 w 5470628"/>
              <a:gd name="connsiteY74" fmla="*/ 3153006 h 3193741"/>
              <a:gd name="connsiteX75" fmla="*/ 977943 w 5470628"/>
              <a:gd name="connsiteY75" fmla="*/ 3082502 h 3193741"/>
              <a:gd name="connsiteX76" fmla="*/ 854473 w 5470628"/>
              <a:gd name="connsiteY76" fmla="*/ 2994250 h 3193741"/>
              <a:gd name="connsiteX77" fmla="*/ 811593 w 5470628"/>
              <a:gd name="connsiteY77" fmla="*/ 2970498 h 3193741"/>
              <a:gd name="connsiteX78" fmla="*/ 707024 w 5470628"/>
              <a:gd name="connsiteY78" fmla="*/ 2945439 h 3193741"/>
              <a:gd name="connsiteX79" fmla="*/ 523487 w 5470628"/>
              <a:gd name="connsiteY79" fmla="*/ 2886053 h 3193741"/>
              <a:gd name="connsiteX80" fmla="*/ 587884 w 5470628"/>
              <a:gd name="connsiteY80" fmla="*/ 2859746 h 3193741"/>
              <a:gd name="connsiteX81" fmla="*/ 779426 w 5470628"/>
              <a:gd name="connsiteY81" fmla="*/ 2885897 h 3193741"/>
              <a:gd name="connsiteX82" fmla="*/ 917288 w 5470628"/>
              <a:gd name="connsiteY82" fmla="*/ 2882248 h 3193741"/>
              <a:gd name="connsiteX83" fmla="*/ 718684 w 5470628"/>
              <a:gd name="connsiteY83" fmla="*/ 2819941 h 3193741"/>
              <a:gd name="connsiteX84" fmla="*/ 524650 w 5470628"/>
              <a:gd name="connsiteY84" fmla="*/ 2731220 h 3193741"/>
              <a:gd name="connsiteX85" fmla="*/ 670138 w 5470628"/>
              <a:gd name="connsiteY85" fmla="*/ 2735189 h 3193741"/>
              <a:gd name="connsiteX86" fmla="*/ 675382 w 5470628"/>
              <a:gd name="connsiteY86" fmla="*/ 2719369 h 3193741"/>
              <a:gd name="connsiteX87" fmla="*/ 542021 w 5470628"/>
              <a:gd name="connsiteY87" fmla="*/ 2601946 h 3193741"/>
              <a:gd name="connsiteX88" fmla="*/ 476895 w 5470628"/>
              <a:gd name="connsiteY88" fmla="*/ 2555976 h 3193741"/>
              <a:gd name="connsiteX89" fmla="*/ 188751 w 5470628"/>
              <a:gd name="connsiteY89" fmla="*/ 2428830 h 3193741"/>
              <a:gd name="connsiteX90" fmla="*/ 456762 w 5470628"/>
              <a:gd name="connsiteY90" fmla="*/ 2468731 h 3193741"/>
              <a:gd name="connsiteX91" fmla="*/ 174514 w 5470628"/>
              <a:gd name="connsiteY91" fmla="*/ 2345378 h 3193741"/>
              <a:gd name="connsiteX92" fmla="*/ 38827 w 5470628"/>
              <a:gd name="connsiteY92" fmla="*/ 2303685 h 3193741"/>
              <a:gd name="connsiteX93" fmla="*/ 3281 w 5470628"/>
              <a:gd name="connsiteY93" fmla="*/ 2273587 h 3193741"/>
              <a:gd name="connsiteX94" fmla="*/ 61590 w 5470628"/>
              <a:gd name="connsiteY94" fmla="*/ 2259170 h 3193741"/>
              <a:gd name="connsiteX95" fmla="*/ 242291 w 5470628"/>
              <a:gd name="connsiteY95" fmla="*/ 2250569 h 3193741"/>
              <a:gd name="connsiteX96" fmla="*/ 13205 w 5470628"/>
              <a:gd name="connsiteY96" fmla="*/ 2172263 h 3193741"/>
              <a:gd name="connsiteX97" fmla="*/ 180810 w 5470628"/>
              <a:gd name="connsiteY97" fmla="*/ 2168333 h 3193741"/>
              <a:gd name="connsiteX98" fmla="*/ 226020 w 5470628"/>
              <a:gd name="connsiteY98" fmla="*/ 2121100 h 3193741"/>
              <a:gd name="connsiteX99" fmla="*/ 299145 w 5470628"/>
              <a:gd name="connsiteY99" fmla="*/ 2044862 h 3193741"/>
              <a:gd name="connsiteX100" fmla="*/ 350236 w 5470628"/>
              <a:gd name="connsiteY100" fmla="*/ 2001187 h 3193741"/>
              <a:gd name="connsiteX101" fmla="*/ 365223 w 5470628"/>
              <a:gd name="connsiteY101" fmla="*/ 1881218 h 3193741"/>
              <a:gd name="connsiteX102" fmla="*/ 310707 w 5470628"/>
              <a:gd name="connsiteY102" fmla="*/ 1758752 h 3193741"/>
              <a:gd name="connsiteX103" fmla="*/ 181659 w 5470628"/>
              <a:gd name="connsiteY103" fmla="*/ 1709137 h 3193741"/>
              <a:gd name="connsiteX104" fmla="*/ 213063 w 5470628"/>
              <a:gd name="connsiteY104" fmla="*/ 1632021 h 3193741"/>
              <a:gd name="connsiteX105" fmla="*/ 481390 w 5470628"/>
              <a:gd name="connsiteY105" fmla="*/ 1644125 h 3193741"/>
              <a:gd name="connsiteX106" fmla="*/ 68930 w 5470628"/>
              <a:gd name="connsiteY106" fmla="*/ 1457537 h 3193741"/>
              <a:gd name="connsiteX107" fmla="*/ 135138 w 5470628"/>
              <a:gd name="connsiteY107" fmla="*/ 1440976 h 3193741"/>
              <a:gd name="connsiteX108" fmla="*/ 131611 w 5470628"/>
              <a:gd name="connsiteY108" fmla="*/ 1427642 h 3193741"/>
              <a:gd name="connsiteX109" fmla="*/ 130443 w 5470628"/>
              <a:gd name="connsiteY109" fmla="*/ 1343795 h 3193741"/>
              <a:gd name="connsiteX110" fmla="*/ 138930 w 5470628"/>
              <a:gd name="connsiteY110" fmla="*/ 1304094 h 3193741"/>
              <a:gd name="connsiteX111" fmla="*/ 118409 w 5470628"/>
              <a:gd name="connsiteY111" fmla="*/ 1262212 h 3193741"/>
              <a:gd name="connsiteX112" fmla="*/ 421410 w 5470628"/>
              <a:gd name="connsiteY112" fmla="*/ 1304757 h 3193741"/>
              <a:gd name="connsiteX113" fmla="*/ 655702 w 5470628"/>
              <a:gd name="connsiteY113" fmla="*/ 1291801 h 3193741"/>
              <a:gd name="connsiteX114" fmla="*/ 648299 w 5470628"/>
              <a:gd name="connsiteY114" fmla="*/ 1287715 h 3193741"/>
              <a:gd name="connsiteX115" fmla="*/ 531027 w 5470628"/>
              <a:gd name="connsiteY115" fmla="*/ 1193967 h 3193741"/>
              <a:gd name="connsiteX116" fmla="*/ 526433 w 5470628"/>
              <a:gd name="connsiteY116" fmla="*/ 1191913 h 3193741"/>
              <a:gd name="connsiteX117" fmla="*/ 504666 w 5470628"/>
              <a:gd name="connsiteY117" fmla="*/ 1177230 h 3193741"/>
              <a:gd name="connsiteX118" fmla="*/ 482307 w 5470628"/>
              <a:gd name="connsiteY118" fmla="*/ 1162618 h 3193741"/>
              <a:gd name="connsiteX119" fmla="*/ 479029 w 5470628"/>
              <a:gd name="connsiteY119" fmla="*/ 1162540 h 3193741"/>
              <a:gd name="connsiteX120" fmla="*/ 447663 w 5470628"/>
              <a:gd name="connsiteY120" fmla="*/ 1132649 h 3193741"/>
              <a:gd name="connsiteX121" fmla="*/ 438547 w 5470628"/>
              <a:gd name="connsiteY121" fmla="*/ 1110977 h 3193741"/>
              <a:gd name="connsiteX122" fmla="*/ 405343 w 5470628"/>
              <a:gd name="connsiteY122" fmla="*/ 1089612 h 3193741"/>
              <a:gd name="connsiteX123" fmla="*/ 371373 w 5470628"/>
              <a:gd name="connsiteY123" fmla="*/ 1070238 h 3193741"/>
              <a:gd name="connsiteX124" fmla="*/ 290358 w 5470628"/>
              <a:gd name="connsiteY124" fmla="*/ 1059884 h 3193741"/>
              <a:gd name="connsiteX125" fmla="*/ 235140 w 5470628"/>
              <a:gd name="connsiteY125" fmla="*/ 1029322 h 3193741"/>
              <a:gd name="connsiteX126" fmla="*/ 300494 w 5470628"/>
              <a:gd name="connsiteY126" fmla="*/ 1032083 h 3193741"/>
              <a:gd name="connsiteX127" fmla="*/ 239661 w 5470628"/>
              <a:gd name="connsiteY127" fmla="*/ 997457 h 3193741"/>
              <a:gd name="connsiteX128" fmla="*/ 204788 w 5470628"/>
              <a:gd name="connsiteY128" fmla="*/ 959211 h 3193741"/>
              <a:gd name="connsiteX129" fmla="*/ 207583 w 5470628"/>
              <a:gd name="connsiteY129" fmla="*/ 947009 h 3193741"/>
              <a:gd name="connsiteX130" fmla="*/ 223061 w 5470628"/>
              <a:gd name="connsiteY130" fmla="*/ 947033 h 3193741"/>
              <a:gd name="connsiteX131" fmla="*/ 280015 w 5470628"/>
              <a:gd name="connsiteY131" fmla="*/ 972164 h 3193741"/>
              <a:gd name="connsiteX132" fmla="*/ 353948 w 5470628"/>
              <a:gd name="connsiteY132" fmla="*/ 1006865 h 3193741"/>
              <a:gd name="connsiteX133" fmla="*/ 240466 w 5470628"/>
              <a:gd name="connsiteY133" fmla="*/ 939943 h 3193741"/>
              <a:gd name="connsiteX134" fmla="*/ 158812 w 5470628"/>
              <a:gd name="connsiteY134" fmla="*/ 891467 h 3193741"/>
              <a:gd name="connsiteX135" fmla="*/ 139551 w 5470628"/>
              <a:gd name="connsiteY135" fmla="*/ 855364 h 3193741"/>
              <a:gd name="connsiteX136" fmla="*/ 145731 w 5470628"/>
              <a:gd name="connsiteY136" fmla="*/ 844888 h 3193741"/>
              <a:gd name="connsiteX137" fmla="*/ 158154 w 5470628"/>
              <a:gd name="connsiteY137" fmla="*/ 848366 h 3193741"/>
              <a:gd name="connsiteX138" fmla="*/ 169370 w 5470628"/>
              <a:gd name="connsiteY138" fmla="*/ 856260 h 3193741"/>
              <a:gd name="connsiteX139" fmla="*/ 288295 w 5470628"/>
              <a:gd name="connsiteY139" fmla="*/ 915169 h 3193741"/>
              <a:gd name="connsiteX140" fmla="*/ 462694 w 5470628"/>
              <a:gd name="connsiteY140" fmla="*/ 994643 h 3193741"/>
              <a:gd name="connsiteX141" fmla="*/ 531910 w 5470628"/>
              <a:gd name="connsiteY141" fmla="*/ 1006664 h 3193741"/>
              <a:gd name="connsiteX142" fmla="*/ 333940 w 5470628"/>
              <a:gd name="connsiteY142" fmla="*/ 893507 h 3193741"/>
              <a:gd name="connsiteX143" fmla="*/ 181443 w 5470628"/>
              <a:gd name="connsiteY143" fmla="*/ 746608 h 3193741"/>
              <a:gd name="connsiteX144" fmla="*/ 162678 w 5470628"/>
              <a:gd name="connsiteY144" fmla="*/ 737018 h 3193741"/>
              <a:gd name="connsiteX145" fmla="*/ 156307 w 5470628"/>
              <a:gd name="connsiteY145" fmla="*/ 730435 h 3193741"/>
              <a:gd name="connsiteX146" fmla="*/ 117227 w 5470628"/>
              <a:gd name="connsiteY146" fmla="*/ 677515 h 3193741"/>
              <a:gd name="connsiteX147" fmla="*/ 113655 w 5470628"/>
              <a:gd name="connsiteY147" fmla="*/ 663474 h 3193741"/>
              <a:gd name="connsiteX148" fmla="*/ 115226 w 5470628"/>
              <a:gd name="connsiteY148" fmla="*/ 636712 h 3193741"/>
              <a:gd name="connsiteX149" fmla="*/ 105067 w 5470628"/>
              <a:gd name="connsiteY149" fmla="*/ 622046 h 3193741"/>
              <a:gd name="connsiteX150" fmla="*/ 104113 w 5470628"/>
              <a:gd name="connsiteY150" fmla="*/ 611722 h 3193741"/>
              <a:gd name="connsiteX151" fmla="*/ 118895 w 5470628"/>
              <a:gd name="connsiteY151" fmla="*/ 610169 h 3193741"/>
              <a:gd name="connsiteX152" fmla="*/ 163095 w 5470628"/>
              <a:gd name="connsiteY152" fmla="*/ 640642 h 3193741"/>
              <a:gd name="connsiteX153" fmla="*/ 185766 w 5470628"/>
              <a:gd name="connsiteY153" fmla="*/ 641454 h 3193741"/>
              <a:gd name="connsiteX154" fmla="*/ 212892 w 5470628"/>
              <a:gd name="connsiteY154" fmla="*/ 637457 h 3193741"/>
              <a:gd name="connsiteX155" fmla="*/ 223932 w 5470628"/>
              <a:gd name="connsiteY155" fmla="*/ 647271 h 3193741"/>
              <a:gd name="connsiteX156" fmla="*/ 287167 w 5470628"/>
              <a:gd name="connsiteY156" fmla="*/ 691571 h 3193741"/>
              <a:gd name="connsiteX157" fmla="*/ 330380 w 5470628"/>
              <a:gd name="connsiteY157" fmla="*/ 692506 h 3193741"/>
              <a:gd name="connsiteX158" fmla="*/ 296172 w 5470628"/>
              <a:gd name="connsiteY158" fmla="*/ 688108 h 3193741"/>
              <a:gd name="connsiteX159" fmla="*/ 286974 w 5470628"/>
              <a:gd name="connsiteY159" fmla="*/ 674512 h 3193741"/>
              <a:gd name="connsiteX160" fmla="*/ 286166 w 5470628"/>
              <a:gd name="connsiteY160" fmla="*/ 661798 h 3193741"/>
              <a:gd name="connsiteX161" fmla="*/ 236268 w 5470628"/>
              <a:gd name="connsiteY161" fmla="*/ 635338 h 3193741"/>
              <a:gd name="connsiteX162" fmla="*/ 231734 w 5470628"/>
              <a:gd name="connsiteY162" fmla="*/ 634225 h 3193741"/>
              <a:gd name="connsiteX163" fmla="*/ 221253 w 5470628"/>
              <a:gd name="connsiteY163" fmla="*/ 623870 h 3193741"/>
              <a:gd name="connsiteX164" fmla="*/ 237564 w 5470628"/>
              <a:gd name="connsiteY164" fmla="*/ 613590 h 3193741"/>
              <a:gd name="connsiteX165" fmla="*/ 282259 w 5470628"/>
              <a:gd name="connsiteY165" fmla="*/ 619091 h 3193741"/>
              <a:gd name="connsiteX166" fmla="*/ 370630 w 5470628"/>
              <a:gd name="connsiteY166" fmla="*/ 665566 h 3193741"/>
              <a:gd name="connsiteX167" fmla="*/ 498017 w 5470628"/>
              <a:gd name="connsiteY167" fmla="*/ 740532 h 3193741"/>
              <a:gd name="connsiteX168" fmla="*/ 918036 w 5470628"/>
              <a:gd name="connsiteY168" fmla="*/ 924307 h 3193741"/>
              <a:gd name="connsiteX169" fmla="*/ 1079304 w 5470628"/>
              <a:gd name="connsiteY169" fmla="*/ 984494 h 3193741"/>
              <a:gd name="connsiteX170" fmla="*/ 1079935 w 5470628"/>
              <a:gd name="connsiteY170" fmla="*/ 980383 h 3193741"/>
              <a:gd name="connsiteX171" fmla="*/ 1079695 w 5470628"/>
              <a:gd name="connsiteY171" fmla="*/ 976616 h 3193741"/>
              <a:gd name="connsiteX172" fmla="*/ 966178 w 5470628"/>
              <a:gd name="connsiteY172" fmla="*/ 937219 h 3193741"/>
              <a:gd name="connsiteX173" fmla="*/ 720106 w 5470628"/>
              <a:gd name="connsiteY173" fmla="*/ 807112 h 3193741"/>
              <a:gd name="connsiteX174" fmla="*/ 698823 w 5470628"/>
              <a:gd name="connsiteY174" fmla="*/ 804708 h 3193741"/>
              <a:gd name="connsiteX175" fmla="*/ 664513 w 5470628"/>
              <a:gd name="connsiteY175" fmla="*/ 784663 h 3193741"/>
              <a:gd name="connsiteX176" fmla="*/ 660380 w 5470628"/>
              <a:gd name="connsiteY176" fmla="*/ 771165 h 3193741"/>
              <a:gd name="connsiteX177" fmla="*/ 584959 w 5470628"/>
              <a:gd name="connsiteY177" fmla="*/ 722409 h 3193741"/>
              <a:gd name="connsiteX178" fmla="*/ 435649 w 5470628"/>
              <a:gd name="connsiteY178" fmla="*/ 639659 h 3193741"/>
              <a:gd name="connsiteX179" fmla="*/ 404944 w 5470628"/>
              <a:gd name="connsiteY179" fmla="*/ 606128 h 3193741"/>
              <a:gd name="connsiteX180" fmla="*/ 408476 w 5470628"/>
              <a:gd name="connsiteY180" fmla="*/ 591466 h 3193741"/>
              <a:gd name="connsiteX181" fmla="*/ 425225 w 5470628"/>
              <a:gd name="connsiteY181" fmla="*/ 592759 h 3193741"/>
              <a:gd name="connsiteX182" fmla="*/ 487115 w 5470628"/>
              <a:gd name="connsiteY182" fmla="*/ 620614 h 3193741"/>
              <a:gd name="connsiteX183" fmla="*/ 550277 w 5470628"/>
              <a:gd name="connsiteY183" fmla="*/ 649738 h 3193741"/>
              <a:gd name="connsiteX184" fmla="*/ 544421 w 5470628"/>
              <a:gd name="connsiteY184" fmla="*/ 641907 h 3193741"/>
              <a:gd name="connsiteX185" fmla="*/ 431905 w 5470628"/>
              <a:gd name="connsiteY185" fmla="*/ 580799 h 3193741"/>
              <a:gd name="connsiteX186" fmla="*/ 351177 w 5470628"/>
              <a:gd name="connsiteY186" fmla="*/ 528177 h 3193741"/>
              <a:gd name="connsiteX187" fmla="*/ 339749 w 5470628"/>
              <a:gd name="connsiteY187" fmla="*/ 498244 h 3193741"/>
              <a:gd name="connsiteX188" fmla="*/ 346313 w 5470628"/>
              <a:gd name="connsiteY188" fmla="*/ 489145 h 3193741"/>
              <a:gd name="connsiteX189" fmla="*/ 356579 w 5470628"/>
              <a:gd name="connsiteY189" fmla="*/ 491460 h 3193741"/>
              <a:gd name="connsiteX190" fmla="*/ 371505 w 5470628"/>
              <a:gd name="connsiteY190" fmla="*/ 501516 h 3193741"/>
              <a:gd name="connsiteX191" fmla="*/ 476275 w 5470628"/>
              <a:gd name="connsiteY191" fmla="*/ 553122 h 3193741"/>
              <a:gd name="connsiteX192" fmla="*/ 649952 w 5470628"/>
              <a:gd name="connsiteY192" fmla="*/ 635294 h 3193741"/>
              <a:gd name="connsiteX193" fmla="*/ 727161 w 5470628"/>
              <a:gd name="connsiteY193" fmla="*/ 651328 h 3193741"/>
              <a:gd name="connsiteX194" fmla="*/ 722417 w 5470628"/>
              <a:gd name="connsiteY194" fmla="*/ 646921 h 3193741"/>
              <a:gd name="connsiteX195" fmla="*/ 546079 w 5470628"/>
              <a:gd name="connsiteY195" fmla="*/ 546328 h 3193741"/>
              <a:gd name="connsiteX196" fmla="*/ 378182 w 5470628"/>
              <a:gd name="connsiteY196" fmla="*/ 386585 h 3193741"/>
              <a:gd name="connsiteX197" fmla="*/ 370158 w 5470628"/>
              <a:gd name="connsiteY197" fmla="*/ 382100 h 3193741"/>
              <a:gd name="connsiteX198" fmla="*/ 357861 w 5470628"/>
              <a:gd name="connsiteY198" fmla="*/ 371252 h 3193741"/>
              <a:gd name="connsiteX199" fmla="*/ 331313 w 5470628"/>
              <a:gd name="connsiteY199" fmla="*/ 328203 h 3193741"/>
              <a:gd name="connsiteX200" fmla="*/ 319354 w 5470628"/>
              <a:gd name="connsiteY200" fmla="*/ 299282 h 3193741"/>
              <a:gd name="connsiteX201" fmla="*/ 319682 w 5470628"/>
              <a:gd name="connsiteY201" fmla="*/ 285719 h 3193741"/>
              <a:gd name="connsiteX202" fmla="*/ 306391 w 5470628"/>
              <a:gd name="connsiteY202" fmla="*/ 268585 h 3193741"/>
              <a:gd name="connsiteX203" fmla="*/ 303294 w 5470628"/>
              <a:gd name="connsiteY203" fmla="*/ 257334 h 3193741"/>
              <a:gd name="connsiteX204" fmla="*/ 319242 w 5470628"/>
              <a:gd name="connsiteY204" fmla="*/ 255403 h 3193741"/>
              <a:gd name="connsiteX205" fmla="*/ 364093 w 5470628"/>
              <a:gd name="connsiteY205" fmla="*/ 286745 h 3193741"/>
              <a:gd name="connsiteX206" fmla="*/ 385301 w 5470628"/>
              <a:gd name="connsiteY206" fmla="*/ 287973 h 3193741"/>
              <a:gd name="connsiteX207" fmla="*/ 417598 w 5470628"/>
              <a:gd name="connsiteY207" fmla="*/ 285722 h 3193741"/>
              <a:gd name="connsiteX208" fmla="*/ 440155 w 5470628"/>
              <a:gd name="connsiteY208" fmla="*/ 308139 h 3193741"/>
              <a:gd name="connsiteX209" fmla="*/ 534406 w 5470628"/>
              <a:gd name="connsiteY209" fmla="*/ 339430 h 3193741"/>
              <a:gd name="connsiteX210" fmla="*/ 495633 w 5470628"/>
              <a:gd name="connsiteY210" fmla="*/ 333450 h 3193741"/>
              <a:gd name="connsiteX211" fmla="*/ 486289 w 5470628"/>
              <a:gd name="connsiteY211" fmla="*/ 322243 h 3193741"/>
              <a:gd name="connsiteX212" fmla="*/ 484000 w 5470628"/>
              <a:gd name="connsiteY212" fmla="*/ 304964 h 3193741"/>
              <a:gd name="connsiteX213" fmla="*/ 436911 w 5470628"/>
              <a:gd name="connsiteY213" fmla="*/ 280536 h 3193741"/>
              <a:gd name="connsiteX214" fmla="*/ 426865 w 5470628"/>
              <a:gd name="connsiteY214" fmla="*/ 277007 h 3193741"/>
              <a:gd name="connsiteX215" fmla="*/ 420654 w 5470628"/>
              <a:gd name="connsiteY215" fmla="*/ 268269 h 3193741"/>
              <a:gd name="connsiteX216" fmla="*/ 432329 w 5470628"/>
              <a:gd name="connsiteY216" fmla="*/ 259975 h 3193741"/>
              <a:gd name="connsiteX217" fmla="*/ 447672 w 5470628"/>
              <a:gd name="connsiteY217" fmla="*/ 257879 h 3193741"/>
              <a:gd name="connsiteX218" fmla="*/ 502242 w 5470628"/>
              <a:gd name="connsiteY218" fmla="*/ 273572 h 3193741"/>
              <a:gd name="connsiteX219" fmla="*/ 659874 w 5470628"/>
              <a:gd name="connsiteY219" fmla="*/ 365516 h 3193741"/>
              <a:gd name="connsiteX220" fmla="*/ 829177 w 5470628"/>
              <a:gd name="connsiteY220" fmla="*/ 444421 h 3193741"/>
              <a:gd name="connsiteX221" fmla="*/ 1231903 w 5470628"/>
              <a:gd name="connsiteY221" fmla="*/ 613682 h 3193741"/>
              <a:gd name="connsiteX222" fmla="*/ 1911736 w 5470628"/>
              <a:gd name="connsiteY222" fmla="*/ 685084 h 3193741"/>
              <a:gd name="connsiteX223" fmla="*/ 2564313 w 5470628"/>
              <a:gd name="connsiteY223" fmla="*/ 632143 h 3193741"/>
              <a:gd name="connsiteX224" fmla="*/ 2657304 w 5470628"/>
              <a:gd name="connsiteY224" fmla="*/ 624913 h 3193741"/>
              <a:gd name="connsiteX225" fmla="*/ 4235818 w 5470628"/>
              <a:gd name="connsiteY225" fmla="*/ 259339 h 3193741"/>
              <a:gd name="connsiteX226" fmla="*/ 4460331 w 5470628"/>
              <a:gd name="connsiteY226" fmla="*/ 176864 h 3193741"/>
              <a:gd name="connsiteX227" fmla="*/ 4499578 w 5470628"/>
              <a:gd name="connsiteY227" fmla="*/ 186791 h 3193741"/>
              <a:gd name="connsiteX228" fmla="*/ 4514640 w 5470628"/>
              <a:gd name="connsiteY228" fmla="*/ 188841 h 3193741"/>
              <a:gd name="connsiteX229" fmla="*/ 4516523 w 5470628"/>
              <a:gd name="connsiteY229" fmla="*/ 189988 h 3193741"/>
              <a:gd name="connsiteX230" fmla="*/ 4518126 w 5470628"/>
              <a:gd name="connsiteY230" fmla="*/ 189316 h 3193741"/>
              <a:gd name="connsiteX231" fmla="*/ 4514640 w 5470628"/>
              <a:gd name="connsiteY231" fmla="*/ 188841 h 3193741"/>
              <a:gd name="connsiteX232" fmla="*/ 4511569 w 5470628"/>
              <a:gd name="connsiteY232" fmla="*/ 186970 h 3193741"/>
              <a:gd name="connsiteX233" fmla="*/ 4510888 w 5470628"/>
              <a:gd name="connsiteY233" fmla="*/ 180943 h 3193741"/>
              <a:gd name="connsiteX234" fmla="*/ 4531865 w 5470628"/>
              <a:gd name="connsiteY234" fmla="*/ 155151 h 3193741"/>
              <a:gd name="connsiteX235" fmla="*/ 4573441 w 5470628"/>
              <a:gd name="connsiteY235" fmla="*/ 139676 h 3193741"/>
              <a:gd name="connsiteX236" fmla="*/ 4594964 w 5470628"/>
              <a:gd name="connsiteY236" fmla="*/ 145847 h 3193741"/>
              <a:gd name="connsiteX237" fmla="*/ 4623059 w 5470628"/>
              <a:gd name="connsiteY237" fmla="*/ 152410 h 3193741"/>
              <a:gd name="connsiteX238" fmla="*/ 4748356 w 5470628"/>
              <a:gd name="connsiteY238" fmla="*/ 68192 h 3193741"/>
              <a:gd name="connsiteX239" fmla="*/ 4833812 w 5470628"/>
              <a:gd name="connsiteY239" fmla="*/ 8017 h 3193741"/>
              <a:gd name="connsiteX240" fmla="*/ 4850908 w 5470628"/>
              <a:gd name="connsiteY240" fmla="*/ 727 h 319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5470628" h="3193741">
                <a:moveTo>
                  <a:pt x="5462602" y="1413608"/>
                </a:moveTo>
                <a:lnTo>
                  <a:pt x="5465724" y="1421881"/>
                </a:lnTo>
                <a:cubicBezTo>
                  <a:pt x="5472118" y="1444281"/>
                  <a:pt x="5472640" y="1461744"/>
                  <a:pt x="5465025" y="1466556"/>
                </a:cubicBezTo>
                <a:lnTo>
                  <a:pt x="5463208" y="1466226"/>
                </a:lnTo>
                <a:lnTo>
                  <a:pt x="5463242" y="1451866"/>
                </a:lnTo>
                <a:cubicBezTo>
                  <a:pt x="5463190" y="1441487"/>
                  <a:pt x="5463068" y="1431722"/>
                  <a:pt x="5462894" y="1423194"/>
                </a:cubicBezTo>
                <a:close/>
                <a:moveTo>
                  <a:pt x="5461417" y="1391849"/>
                </a:moveTo>
                <a:cubicBezTo>
                  <a:pt x="5461710" y="1392940"/>
                  <a:pt x="5461992" y="1396513"/>
                  <a:pt x="5462246" y="1401944"/>
                </a:cubicBezTo>
                <a:lnTo>
                  <a:pt x="5462602" y="1413608"/>
                </a:lnTo>
                <a:lnTo>
                  <a:pt x="5459078" y="1404268"/>
                </a:lnTo>
                <a:lnTo>
                  <a:pt x="5460137" y="1393780"/>
                </a:lnTo>
                <a:cubicBezTo>
                  <a:pt x="5460561" y="1391114"/>
                  <a:pt x="5460982" y="1390270"/>
                  <a:pt x="5461417" y="1391849"/>
                </a:cubicBezTo>
                <a:close/>
                <a:moveTo>
                  <a:pt x="614271" y="1052206"/>
                </a:moveTo>
                <a:cubicBezTo>
                  <a:pt x="613444" y="1053256"/>
                  <a:pt x="612323" y="1054339"/>
                  <a:pt x="611497" y="1055389"/>
                </a:cubicBezTo>
                <a:cubicBezTo>
                  <a:pt x="617673" y="1058912"/>
                  <a:pt x="624115" y="1061928"/>
                  <a:pt x="630277" y="1065215"/>
                </a:cubicBezTo>
                <a:cubicBezTo>
                  <a:pt x="637469" y="1066004"/>
                  <a:pt x="644958" y="1066759"/>
                  <a:pt x="651856" y="1067584"/>
                </a:cubicBezTo>
                <a:cubicBezTo>
                  <a:pt x="639327" y="1062458"/>
                  <a:pt x="626799" y="1057332"/>
                  <a:pt x="614271" y="1052206"/>
                </a:cubicBezTo>
                <a:close/>
                <a:moveTo>
                  <a:pt x="810628" y="695550"/>
                </a:moveTo>
                <a:cubicBezTo>
                  <a:pt x="873537" y="739416"/>
                  <a:pt x="951215" y="767494"/>
                  <a:pt x="1033084" y="791270"/>
                </a:cubicBezTo>
                <a:cubicBezTo>
                  <a:pt x="1034205" y="790184"/>
                  <a:pt x="1035031" y="789136"/>
                  <a:pt x="1036153" y="788050"/>
                </a:cubicBezTo>
                <a:cubicBezTo>
                  <a:pt x="960983" y="757296"/>
                  <a:pt x="885798" y="726306"/>
                  <a:pt x="810628" y="695550"/>
                </a:cubicBezTo>
                <a:close/>
                <a:moveTo>
                  <a:pt x="4850908" y="727"/>
                </a:moveTo>
                <a:cubicBezTo>
                  <a:pt x="4858191" y="2929"/>
                  <a:pt x="4860543" y="7152"/>
                  <a:pt x="4858584" y="13795"/>
                </a:cubicBezTo>
                <a:cubicBezTo>
                  <a:pt x="4855845" y="22194"/>
                  <a:pt x="4850092" y="30008"/>
                  <a:pt x="4843408" y="37224"/>
                </a:cubicBezTo>
                <a:cubicBezTo>
                  <a:pt x="4812232" y="71132"/>
                  <a:pt x="4827067" y="79774"/>
                  <a:pt x="4871062" y="78954"/>
                </a:cubicBezTo>
                <a:cubicBezTo>
                  <a:pt x="4910302" y="78234"/>
                  <a:pt x="4949507" y="72299"/>
                  <a:pt x="4989038" y="66799"/>
                </a:cubicBezTo>
                <a:cubicBezTo>
                  <a:pt x="5008500" y="63967"/>
                  <a:pt x="5009491" y="65509"/>
                  <a:pt x="5002636" y="79388"/>
                </a:cubicBezTo>
                <a:cubicBezTo>
                  <a:pt x="4991594" y="102315"/>
                  <a:pt x="4990844" y="123285"/>
                  <a:pt x="5008332" y="140859"/>
                </a:cubicBezTo>
                <a:cubicBezTo>
                  <a:pt x="5012456" y="144868"/>
                  <a:pt x="5015428" y="149491"/>
                  <a:pt x="5014326" y="155555"/>
                </a:cubicBezTo>
                <a:cubicBezTo>
                  <a:pt x="5009356" y="180357"/>
                  <a:pt x="5019874" y="200674"/>
                  <a:pt x="5030704" y="221190"/>
                </a:cubicBezTo>
                <a:cubicBezTo>
                  <a:pt x="5048958" y="255517"/>
                  <a:pt x="5072099" y="287116"/>
                  <a:pt x="5097262" y="317759"/>
                </a:cubicBezTo>
                <a:cubicBezTo>
                  <a:pt x="5115004" y="339336"/>
                  <a:pt x="5126222" y="365974"/>
                  <a:pt x="5165084" y="373367"/>
                </a:cubicBezTo>
                <a:cubicBezTo>
                  <a:pt x="5174420" y="375083"/>
                  <a:pt x="5177498" y="381353"/>
                  <a:pt x="5174137" y="389353"/>
                </a:cubicBezTo>
                <a:cubicBezTo>
                  <a:pt x="5163026" y="415847"/>
                  <a:pt x="5172067" y="436343"/>
                  <a:pt x="5192507" y="453561"/>
                </a:cubicBezTo>
                <a:cubicBezTo>
                  <a:pt x="5199734" y="459565"/>
                  <a:pt x="5197020" y="463690"/>
                  <a:pt x="5187160" y="467732"/>
                </a:cubicBezTo>
                <a:cubicBezTo>
                  <a:pt x="5175836" y="472188"/>
                  <a:pt x="5167025" y="478711"/>
                  <a:pt x="5160106" y="486904"/>
                </a:cubicBezTo>
                <a:cubicBezTo>
                  <a:pt x="5148744" y="500143"/>
                  <a:pt x="5143396" y="514315"/>
                  <a:pt x="5138948" y="528614"/>
                </a:cubicBezTo>
                <a:cubicBezTo>
                  <a:pt x="5132042" y="551041"/>
                  <a:pt x="5123894" y="572670"/>
                  <a:pt x="5097016" y="589923"/>
                </a:cubicBezTo>
                <a:cubicBezTo>
                  <a:pt x="5089016" y="595163"/>
                  <a:pt x="5082598" y="601872"/>
                  <a:pt x="5075869" y="608381"/>
                </a:cubicBezTo>
                <a:cubicBezTo>
                  <a:pt x="5078016" y="614052"/>
                  <a:pt x="5083322" y="617918"/>
                  <a:pt x="5093172" y="618385"/>
                </a:cubicBezTo>
                <a:cubicBezTo>
                  <a:pt x="5155867" y="621469"/>
                  <a:pt x="5153088" y="652648"/>
                  <a:pt x="5153518" y="687474"/>
                </a:cubicBezTo>
                <a:cubicBezTo>
                  <a:pt x="5154177" y="730575"/>
                  <a:pt x="5118812" y="754787"/>
                  <a:pt x="5074984" y="776941"/>
                </a:cubicBezTo>
                <a:cubicBezTo>
                  <a:pt x="5059986" y="784451"/>
                  <a:pt x="5038116" y="786863"/>
                  <a:pt x="5033348" y="805473"/>
                </a:cubicBezTo>
                <a:cubicBezTo>
                  <a:pt x="5059529" y="819384"/>
                  <a:pt x="5089376" y="802009"/>
                  <a:pt x="5116847" y="803426"/>
                </a:cubicBezTo>
                <a:cubicBezTo>
                  <a:pt x="5139548" y="804709"/>
                  <a:pt x="5176330" y="798120"/>
                  <a:pt x="5147902" y="833118"/>
                </a:cubicBezTo>
                <a:cubicBezTo>
                  <a:pt x="5139626" y="843373"/>
                  <a:pt x="5150382" y="848714"/>
                  <a:pt x="5161665" y="848297"/>
                </a:cubicBezTo>
                <a:cubicBezTo>
                  <a:pt x="5253064" y="844106"/>
                  <a:pt x="5215170" y="912756"/>
                  <a:pt x="5246520" y="942412"/>
                </a:cubicBezTo>
                <a:cubicBezTo>
                  <a:pt x="5255359" y="950358"/>
                  <a:pt x="5247812" y="967405"/>
                  <a:pt x="5235368" y="972946"/>
                </a:cubicBezTo>
                <a:cubicBezTo>
                  <a:pt x="5156387" y="1008610"/>
                  <a:pt x="5149354" y="1071149"/>
                  <a:pt x="5113739" y="1128845"/>
                </a:cubicBezTo>
                <a:cubicBezTo>
                  <a:pt x="5157305" y="1144685"/>
                  <a:pt x="5208388" y="1143005"/>
                  <a:pt x="5255034" y="1151117"/>
                </a:cubicBezTo>
                <a:cubicBezTo>
                  <a:pt x="5303482" y="1159484"/>
                  <a:pt x="5304156" y="1170079"/>
                  <a:pt x="5267513" y="1216275"/>
                </a:cubicBezTo>
                <a:cubicBezTo>
                  <a:pt x="5370269" y="1212844"/>
                  <a:pt x="5370269" y="1212844"/>
                  <a:pt x="5343113" y="1281854"/>
                </a:cubicBezTo>
                <a:cubicBezTo>
                  <a:pt x="5386272" y="1279593"/>
                  <a:pt x="5428618" y="1334726"/>
                  <a:pt x="5452014" y="1385543"/>
                </a:cubicBezTo>
                <a:lnTo>
                  <a:pt x="5459078" y="1404268"/>
                </a:lnTo>
                <a:lnTo>
                  <a:pt x="5458838" y="1406644"/>
                </a:lnTo>
                <a:cubicBezTo>
                  <a:pt x="5457942" y="1418063"/>
                  <a:pt x="5456960" y="1434367"/>
                  <a:pt x="5455752" y="1450751"/>
                </a:cubicBezTo>
                <a:lnTo>
                  <a:pt x="5454594" y="1464662"/>
                </a:lnTo>
                <a:lnTo>
                  <a:pt x="5447215" y="1463321"/>
                </a:lnTo>
                <a:cubicBezTo>
                  <a:pt x="5441256" y="1459714"/>
                  <a:pt x="5437002" y="1458345"/>
                  <a:pt x="5433934" y="1458428"/>
                </a:cubicBezTo>
                <a:cubicBezTo>
                  <a:pt x="5424728" y="1458676"/>
                  <a:pt x="5426188" y="1471978"/>
                  <a:pt x="5424276" y="1477014"/>
                </a:cubicBezTo>
                <a:cubicBezTo>
                  <a:pt x="5417851" y="1492977"/>
                  <a:pt x="5433852" y="1501241"/>
                  <a:pt x="5444628" y="1511562"/>
                </a:cubicBezTo>
                <a:cubicBezTo>
                  <a:pt x="5448663" y="1515344"/>
                  <a:pt x="5451544" y="1497678"/>
                  <a:pt x="5453752" y="1474786"/>
                </a:cubicBezTo>
                <a:lnTo>
                  <a:pt x="5454594" y="1464662"/>
                </a:lnTo>
                <a:lnTo>
                  <a:pt x="5463208" y="1466226"/>
                </a:lnTo>
                <a:lnTo>
                  <a:pt x="5463164" y="1484226"/>
                </a:lnTo>
                <a:cubicBezTo>
                  <a:pt x="5462722" y="1528173"/>
                  <a:pt x="5460824" y="1571999"/>
                  <a:pt x="5456160" y="1575885"/>
                </a:cubicBezTo>
                <a:cubicBezTo>
                  <a:pt x="5406708" y="1617226"/>
                  <a:pt x="5442751" y="1692579"/>
                  <a:pt x="5345636" y="1714543"/>
                </a:cubicBezTo>
                <a:cubicBezTo>
                  <a:pt x="5301930" y="1724583"/>
                  <a:pt x="5282493" y="1755882"/>
                  <a:pt x="5251319" y="1775792"/>
                </a:cubicBezTo>
                <a:cubicBezTo>
                  <a:pt x="5142610" y="1844714"/>
                  <a:pt x="5072132" y="1925140"/>
                  <a:pt x="5043512" y="2027305"/>
                </a:cubicBezTo>
                <a:cubicBezTo>
                  <a:pt x="5035488" y="2055562"/>
                  <a:pt x="5000258" y="2081893"/>
                  <a:pt x="4978144" y="2108535"/>
                </a:cubicBezTo>
                <a:cubicBezTo>
                  <a:pt x="4990785" y="2124798"/>
                  <a:pt x="5050411" y="2079615"/>
                  <a:pt x="5031476" y="2128173"/>
                </a:cubicBezTo>
                <a:cubicBezTo>
                  <a:pt x="5017138" y="2164787"/>
                  <a:pt x="4975973" y="2191363"/>
                  <a:pt x="4937389" y="2216441"/>
                </a:cubicBezTo>
                <a:cubicBezTo>
                  <a:pt x="4893079" y="2245058"/>
                  <a:pt x="4843760" y="2269776"/>
                  <a:pt x="4826122" y="2315331"/>
                </a:cubicBezTo>
                <a:cubicBezTo>
                  <a:pt x="4822276" y="2325050"/>
                  <a:pt x="3896510" y="3112888"/>
                  <a:pt x="2544647" y="3190975"/>
                </a:cubicBezTo>
                <a:cubicBezTo>
                  <a:pt x="2323734" y="3203734"/>
                  <a:pt x="1445947" y="3169121"/>
                  <a:pt x="1328257" y="3153006"/>
                </a:cubicBezTo>
                <a:cubicBezTo>
                  <a:pt x="1207258" y="3136344"/>
                  <a:pt x="1101756" y="3091943"/>
                  <a:pt x="977943" y="3082502"/>
                </a:cubicBezTo>
                <a:cubicBezTo>
                  <a:pt x="912454" y="3077622"/>
                  <a:pt x="848655" y="3061861"/>
                  <a:pt x="854473" y="2994250"/>
                </a:cubicBezTo>
                <a:cubicBezTo>
                  <a:pt x="856228" y="2975057"/>
                  <a:pt x="838125" y="2961827"/>
                  <a:pt x="811593" y="2970498"/>
                </a:cubicBezTo>
                <a:cubicBezTo>
                  <a:pt x="761454" y="2987010"/>
                  <a:pt x="736680" y="2962489"/>
                  <a:pt x="707024" y="2945439"/>
                </a:cubicBezTo>
                <a:cubicBezTo>
                  <a:pt x="654509" y="2915262"/>
                  <a:pt x="603913" y="2882480"/>
                  <a:pt x="523487" y="2886053"/>
                </a:cubicBezTo>
                <a:cubicBezTo>
                  <a:pt x="537017" y="2855468"/>
                  <a:pt x="563587" y="2856758"/>
                  <a:pt x="587884" y="2859746"/>
                </a:cubicBezTo>
                <a:cubicBezTo>
                  <a:pt x="652090" y="2867866"/>
                  <a:pt x="715235" y="2878012"/>
                  <a:pt x="779426" y="2885897"/>
                </a:cubicBezTo>
                <a:cubicBezTo>
                  <a:pt x="821123" y="2891048"/>
                  <a:pt x="863074" y="2900202"/>
                  <a:pt x="917288" y="2882248"/>
                </a:cubicBezTo>
                <a:cubicBezTo>
                  <a:pt x="866364" y="2830288"/>
                  <a:pt x="785092" y="2829930"/>
                  <a:pt x="718684" y="2819941"/>
                </a:cubicBezTo>
                <a:cubicBezTo>
                  <a:pt x="635747" y="2807447"/>
                  <a:pt x="584925" y="2771133"/>
                  <a:pt x="524650" y="2731220"/>
                </a:cubicBezTo>
                <a:cubicBezTo>
                  <a:pt x="584180" y="2712621"/>
                  <a:pt x="623299" y="2742760"/>
                  <a:pt x="670138" y="2735189"/>
                </a:cubicBezTo>
                <a:cubicBezTo>
                  <a:pt x="672406" y="2728745"/>
                  <a:pt x="675988" y="2719532"/>
                  <a:pt x="675382" y="2719369"/>
                </a:cubicBezTo>
                <a:cubicBezTo>
                  <a:pt x="596666" y="2703042"/>
                  <a:pt x="557844" y="2658869"/>
                  <a:pt x="542021" y="2601946"/>
                </a:cubicBezTo>
                <a:cubicBezTo>
                  <a:pt x="533902" y="2572560"/>
                  <a:pt x="505246" y="2566541"/>
                  <a:pt x="476895" y="2555976"/>
                </a:cubicBezTo>
                <a:cubicBezTo>
                  <a:pt x="377189" y="2518466"/>
                  <a:pt x="272496" y="2486779"/>
                  <a:pt x="188751" y="2428830"/>
                </a:cubicBezTo>
                <a:cubicBezTo>
                  <a:pt x="280875" y="2426687"/>
                  <a:pt x="357216" y="2461808"/>
                  <a:pt x="456762" y="2468731"/>
                </a:cubicBezTo>
                <a:cubicBezTo>
                  <a:pt x="373794" y="2404281"/>
                  <a:pt x="269816" y="2379152"/>
                  <a:pt x="174514" y="2345378"/>
                </a:cubicBezTo>
                <a:cubicBezTo>
                  <a:pt x="130977" y="2330009"/>
                  <a:pt x="90329" y="2308598"/>
                  <a:pt x="38827" y="2303685"/>
                </a:cubicBezTo>
                <a:cubicBezTo>
                  <a:pt x="20556" y="2301864"/>
                  <a:pt x="-10092" y="2297272"/>
                  <a:pt x="3281" y="2273587"/>
                </a:cubicBezTo>
                <a:cubicBezTo>
                  <a:pt x="14533" y="2253956"/>
                  <a:pt x="39095" y="2256437"/>
                  <a:pt x="61590" y="2259170"/>
                </a:cubicBezTo>
                <a:cubicBezTo>
                  <a:pt x="115591" y="2265916"/>
                  <a:pt x="170539" y="2259497"/>
                  <a:pt x="242291" y="2250569"/>
                </a:cubicBezTo>
                <a:cubicBezTo>
                  <a:pt x="178223" y="2197829"/>
                  <a:pt x="68904" y="2229102"/>
                  <a:pt x="13205" y="2172263"/>
                </a:cubicBezTo>
                <a:cubicBezTo>
                  <a:pt x="77196" y="2153598"/>
                  <a:pt x="128251" y="2170191"/>
                  <a:pt x="180810" y="2168333"/>
                </a:cubicBezTo>
                <a:cubicBezTo>
                  <a:pt x="228319" y="2166612"/>
                  <a:pt x="239444" y="2154350"/>
                  <a:pt x="226020" y="2121100"/>
                </a:cubicBezTo>
                <a:cubicBezTo>
                  <a:pt x="205165" y="2069293"/>
                  <a:pt x="229388" y="2038364"/>
                  <a:pt x="299145" y="2044862"/>
                </a:cubicBezTo>
                <a:cubicBezTo>
                  <a:pt x="363822" y="2051027"/>
                  <a:pt x="369032" y="2029991"/>
                  <a:pt x="350236" y="2001187"/>
                </a:cubicBezTo>
                <a:cubicBezTo>
                  <a:pt x="322862" y="1959187"/>
                  <a:pt x="348423" y="1921214"/>
                  <a:pt x="365223" y="1881218"/>
                </a:cubicBezTo>
                <a:cubicBezTo>
                  <a:pt x="390527" y="1820499"/>
                  <a:pt x="376326" y="1793748"/>
                  <a:pt x="310707" y="1758752"/>
                </a:cubicBezTo>
                <a:cubicBezTo>
                  <a:pt x="273754" y="1739265"/>
                  <a:pt x="234367" y="1723631"/>
                  <a:pt x="181659" y="1709137"/>
                </a:cubicBezTo>
                <a:cubicBezTo>
                  <a:pt x="299387" y="1683727"/>
                  <a:pt x="172918" y="1660608"/>
                  <a:pt x="213063" y="1632021"/>
                </a:cubicBezTo>
                <a:cubicBezTo>
                  <a:pt x="296030" y="1612244"/>
                  <a:pt x="369047" y="1679323"/>
                  <a:pt x="481390" y="1644125"/>
                </a:cubicBezTo>
                <a:cubicBezTo>
                  <a:pt x="336659" y="1595935"/>
                  <a:pt x="176348" y="1532074"/>
                  <a:pt x="68930" y="1457537"/>
                </a:cubicBezTo>
                <a:cubicBezTo>
                  <a:pt x="91299" y="1434897"/>
                  <a:pt x="115799" y="1450436"/>
                  <a:pt x="135138" y="1440976"/>
                </a:cubicBezTo>
                <a:cubicBezTo>
                  <a:pt x="133952" y="1436374"/>
                  <a:pt x="135290" y="1429332"/>
                  <a:pt x="131611" y="1427642"/>
                </a:cubicBezTo>
                <a:cubicBezTo>
                  <a:pt x="52402" y="1389548"/>
                  <a:pt x="51441" y="1388478"/>
                  <a:pt x="130443" y="1343795"/>
                </a:cubicBezTo>
                <a:cubicBezTo>
                  <a:pt x="158017" y="1328118"/>
                  <a:pt x="154966" y="1317573"/>
                  <a:pt x="138930" y="1304094"/>
                </a:cubicBezTo>
                <a:cubicBezTo>
                  <a:pt x="127608" y="1294551"/>
                  <a:pt x="113720" y="1286742"/>
                  <a:pt x="118409" y="1262212"/>
                </a:cubicBezTo>
                <a:cubicBezTo>
                  <a:pt x="164937" y="1287183"/>
                  <a:pt x="383505" y="1312432"/>
                  <a:pt x="421410" y="1304757"/>
                </a:cubicBezTo>
                <a:cubicBezTo>
                  <a:pt x="464009" y="1296037"/>
                  <a:pt x="610877" y="1288926"/>
                  <a:pt x="655702" y="1291801"/>
                </a:cubicBezTo>
                <a:cubicBezTo>
                  <a:pt x="653235" y="1290438"/>
                  <a:pt x="650767" y="1289077"/>
                  <a:pt x="648299" y="1287715"/>
                </a:cubicBezTo>
                <a:cubicBezTo>
                  <a:pt x="603999" y="1260339"/>
                  <a:pt x="559107" y="1233035"/>
                  <a:pt x="531027" y="1193967"/>
                </a:cubicBezTo>
                <a:cubicBezTo>
                  <a:pt x="529741" y="1192462"/>
                  <a:pt x="529061" y="1191120"/>
                  <a:pt x="526433" y="1191913"/>
                </a:cubicBezTo>
                <a:cubicBezTo>
                  <a:pt x="503415" y="1199684"/>
                  <a:pt x="505590" y="1187083"/>
                  <a:pt x="504666" y="1177230"/>
                </a:cubicBezTo>
                <a:cubicBezTo>
                  <a:pt x="503726" y="1167141"/>
                  <a:pt x="499378" y="1159602"/>
                  <a:pt x="482307" y="1162618"/>
                </a:cubicBezTo>
                <a:cubicBezTo>
                  <a:pt x="481421" y="1162726"/>
                  <a:pt x="480226" y="1162633"/>
                  <a:pt x="479029" y="1162540"/>
                </a:cubicBezTo>
                <a:cubicBezTo>
                  <a:pt x="470949" y="1161859"/>
                  <a:pt x="444139" y="1138059"/>
                  <a:pt x="447663" y="1132649"/>
                </a:cubicBezTo>
                <a:cubicBezTo>
                  <a:pt x="455539" y="1120781"/>
                  <a:pt x="446335" y="1116439"/>
                  <a:pt x="438547" y="1110977"/>
                </a:cubicBezTo>
                <a:cubicBezTo>
                  <a:pt x="427656" y="1103517"/>
                  <a:pt x="416795" y="1096529"/>
                  <a:pt x="405343" y="1089612"/>
                </a:cubicBezTo>
                <a:cubicBezTo>
                  <a:pt x="394202" y="1082895"/>
                  <a:pt x="382794" y="1076684"/>
                  <a:pt x="371373" y="1070238"/>
                </a:cubicBezTo>
                <a:cubicBezTo>
                  <a:pt x="344889" y="1065616"/>
                  <a:pt x="318169" y="1061972"/>
                  <a:pt x="290358" y="1059884"/>
                </a:cubicBezTo>
                <a:cubicBezTo>
                  <a:pt x="269709" y="1058114"/>
                  <a:pt x="246624" y="1055453"/>
                  <a:pt x="235140" y="1029322"/>
                </a:cubicBezTo>
                <a:cubicBezTo>
                  <a:pt x="256895" y="1029771"/>
                  <a:pt x="278695" y="1030927"/>
                  <a:pt x="300494" y="1032083"/>
                </a:cubicBezTo>
                <a:cubicBezTo>
                  <a:pt x="279542" y="1020860"/>
                  <a:pt x="259181" y="1009565"/>
                  <a:pt x="239661" y="997457"/>
                </a:cubicBezTo>
                <a:cubicBezTo>
                  <a:pt x="223540" y="987309"/>
                  <a:pt x="210281" y="975391"/>
                  <a:pt x="204788" y="959211"/>
                </a:cubicBezTo>
                <a:cubicBezTo>
                  <a:pt x="203337" y="955117"/>
                  <a:pt x="202166" y="950750"/>
                  <a:pt x="207583" y="947009"/>
                </a:cubicBezTo>
                <a:cubicBezTo>
                  <a:pt x="213561" y="942727"/>
                  <a:pt x="218466" y="944980"/>
                  <a:pt x="223061" y="947033"/>
                </a:cubicBezTo>
                <a:cubicBezTo>
                  <a:pt x="242046" y="955410"/>
                  <a:pt x="261311" y="963516"/>
                  <a:pt x="280015" y="972164"/>
                </a:cubicBezTo>
                <a:cubicBezTo>
                  <a:pt x="304852" y="983629"/>
                  <a:pt x="329408" y="995365"/>
                  <a:pt x="353948" y="1006865"/>
                </a:cubicBezTo>
                <a:cubicBezTo>
                  <a:pt x="319294" y="981405"/>
                  <a:pt x="281290" y="959435"/>
                  <a:pt x="240466" y="939943"/>
                </a:cubicBezTo>
                <a:cubicBezTo>
                  <a:pt x="210990" y="925718"/>
                  <a:pt x="181514" y="911494"/>
                  <a:pt x="158812" y="891467"/>
                </a:cubicBezTo>
                <a:cubicBezTo>
                  <a:pt x="147166" y="881489"/>
                  <a:pt x="141336" y="869384"/>
                  <a:pt x="139551" y="855364"/>
                </a:cubicBezTo>
                <a:cubicBezTo>
                  <a:pt x="139312" y="851597"/>
                  <a:pt x="139634" y="847287"/>
                  <a:pt x="145731" y="844888"/>
                </a:cubicBezTo>
                <a:cubicBezTo>
                  <a:pt x="151843" y="842724"/>
                  <a:pt x="155581" y="845356"/>
                  <a:pt x="158154" y="848366"/>
                </a:cubicBezTo>
                <a:cubicBezTo>
                  <a:pt x="161052" y="851811"/>
                  <a:pt x="164496" y="854479"/>
                  <a:pt x="169370" y="856260"/>
                </a:cubicBezTo>
                <a:cubicBezTo>
                  <a:pt x="212096" y="872913"/>
                  <a:pt x="249775" y="894448"/>
                  <a:pt x="288295" y="915169"/>
                </a:cubicBezTo>
                <a:cubicBezTo>
                  <a:pt x="343452" y="944788"/>
                  <a:pt x="397769" y="975222"/>
                  <a:pt x="462694" y="994643"/>
                </a:cubicBezTo>
                <a:cubicBezTo>
                  <a:pt x="487260" y="1001870"/>
                  <a:pt x="512622" y="1007575"/>
                  <a:pt x="531910" y="1006664"/>
                </a:cubicBezTo>
                <a:cubicBezTo>
                  <a:pt x="460990" y="972547"/>
                  <a:pt x="394087" y="936046"/>
                  <a:pt x="333940" y="893507"/>
                </a:cubicBezTo>
                <a:cubicBezTo>
                  <a:pt x="273173" y="850568"/>
                  <a:pt x="219876" y="803403"/>
                  <a:pt x="181443" y="746608"/>
                </a:cubicBezTo>
                <a:cubicBezTo>
                  <a:pt x="177494" y="740681"/>
                  <a:pt x="175038" y="734810"/>
                  <a:pt x="162678" y="737018"/>
                </a:cubicBezTo>
                <a:cubicBezTo>
                  <a:pt x="157082" y="737933"/>
                  <a:pt x="155070" y="734381"/>
                  <a:pt x="156307" y="730435"/>
                </a:cubicBezTo>
                <a:cubicBezTo>
                  <a:pt x="164051" y="702450"/>
                  <a:pt x="145532" y="687373"/>
                  <a:pt x="117227" y="677515"/>
                </a:cubicBezTo>
                <a:cubicBezTo>
                  <a:pt x="108392" y="674314"/>
                  <a:pt x="107546" y="670384"/>
                  <a:pt x="113655" y="663474"/>
                </a:cubicBezTo>
                <a:cubicBezTo>
                  <a:pt x="121976" y="653926"/>
                  <a:pt x="120506" y="644851"/>
                  <a:pt x="115226" y="636712"/>
                </a:cubicBezTo>
                <a:cubicBezTo>
                  <a:pt x="112224" y="631619"/>
                  <a:pt x="108350" y="626868"/>
                  <a:pt x="105067" y="622046"/>
                </a:cubicBezTo>
                <a:cubicBezTo>
                  <a:pt x="102790" y="619000"/>
                  <a:pt x="99022" y="615897"/>
                  <a:pt x="104113" y="611722"/>
                </a:cubicBezTo>
                <a:cubicBezTo>
                  <a:pt x="108939" y="608053"/>
                  <a:pt x="114081" y="609328"/>
                  <a:pt x="118895" y="610169"/>
                </a:cubicBezTo>
                <a:cubicBezTo>
                  <a:pt x="142040" y="613772"/>
                  <a:pt x="156094" y="624170"/>
                  <a:pt x="163095" y="640642"/>
                </a:cubicBezTo>
                <a:cubicBezTo>
                  <a:pt x="168334" y="652819"/>
                  <a:pt x="173104" y="652953"/>
                  <a:pt x="185766" y="641454"/>
                </a:cubicBezTo>
                <a:cubicBezTo>
                  <a:pt x="195327" y="632704"/>
                  <a:pt x="204232" y="632337"/>
                  <a:pt x="212892" y="637457"/>
                </a:cubicBezTo>
                <a:cubicBezTo>
                  <a:pt x="217516" y="639981"/>
                  <a:pt x="220444" y="643897"/>
                  <a:pt x="223932" y="647271"/>
                </a:cubicBezTo>
                <a:cubicBezTo>
                  <a:pt x="241420" y="664845"/>
                  <a:pt x="259762" y="681841"/>
                  <a:pt x="287167" y="691571"/>
                </a:cubicBezTo>
                <a:cubicBezTo>
                  <a:pt x="299355" y="696027"/>
                  <a:pt x="312354" y="699197"/>
                  <a:pt x="330380" y="692506"/>
                </a:cubicBezTo>
                <a:cubicBezTo>
                  <a:pt x="318517" y="688486"/>
                  <a:pt x="306954" y="689175"/>
                  <a:pt x="296172" y="688108"/>
                </a:cubicBezTo>
                <a:cubicBezTo>
                  <a:pt x="285390" y="687041"/>
                  <a:pt x="279539" y="683953"/>
                  <a:pt x="286974" y="674512"/>
                </a:cubicBezTo>
                <a:cubicBezTo>
                  <a:pt x="291105" y="669267"/>
                  <a:pt x="290555" y="665301"/>
                  <a:pt x="286166" y="661798"/>
                </a:cubicBezTo>
                <a:cubicBezTo>
                  <a:pt x="272052" y="650459"/>
                  <a:pt x="264416" y="633352"/>
                  <a:pt x="236268" y="635338"/>
                </a:cubicBezTo>
                <a:cubicBezTo>
                  <a:pt x="234792" y="635517"/>
                  <a:pt x="233255" y="634754"/>
                  <a:pt x="231734" y="634225"/>
                </a:cubicBezTo>
                <a:cubicBezTo>
                  <a:pt x="225957" y="632316"/>
                  <a:pt x="219575" y="630241"/>
                  <a:pt x="221253" y="623870"/>
                </a:cubicBezTo>
                <a:cubicBezTo>
                  <a:pt x="223227" y="617462"/>
                  <a:pt x="230816" y="615119"/>
                  <a:pt x="237564" y="613590"/>
                </a:cubicBezTo>
                <a:cubicBezTo>
                  <a:pt x="254884" y="609831"/>
                  <a:pt x="268844" y="614072"/>
                  <a:pt x="282259" y="619091"/>
                </a:cubicBezTo>
                <a:cubicBezTo>
                  <a:pt x="314893" y="631509"/>
                  <a:pt x="342201" y="649080"/>
                  <a:pt x="370630" y="665566"/>
                </a:cubicBezTo>
                <a:cubicBezTo>
                  <a:pt x="413275" y="690295"/>
                  <a:pt x="451153" y="719635"/>
                  <a:pt x="498017" y="740532"/>
                </a:cubicBezTo>
                <a:cubicBezTo>
                  <a:pt x="637369" y="802423"/>
                  <a:pt x="774774" y="866448"/>
                  <a:pt x="918036" y="924307"/>
                </a:cubicBezTo>
                <a:cubicBezTo>
                  <a:pt x="970882" y="945666"/>
                  <a:pt x="1024819" y="965469"/>
                  <a:pt x="1079304" y="984494"/>
                </a:cubicBezTo>
                <a:cubicBezTo>
                  <a:pt x="1079509" y="983045"/>
                  <a:pt x="1079744" y="982067"/>
                  <a:pt x="1079935" y="980383"/>
                </a:cubicBezTo>
                <a:cubicBezTo>
                  <a:pt x="1079860" y="979206"/>
                  <a:pt x="1079770" y="977793"/>
                  <a:pt x="1079695" y="976616"/>
                </a:cubicBezTo>
                <a:cubicBezTo>
                  <a:pt x="1041139" y="964679"/>
                  <a:pt x="1003098" y="951491"/>
                  <a:pt x="966178" y="937219"/>
                </a:cubicBezTo>
                <a:cubicBezTo>
                  <a:pt x="875541" y="901932"/>
                  <a:pt x="791930" y="860100"/>
                  <a:pt x="720106" y="807112"/>
                </a:cubicBezTo>
                <a:cubicBezTo>
                  <a:pt x="714181" y="802848"/>
                  <a:pt x="707904" y="802421"/>
                  <a:pt x="698823" y="804708"/>
                </a:cubicBezTo>
                <a:cubicBezTo>
                  <a:pt x="669544" y="812288"/>
                  <a:pt x="659939" y="806334"/>
                  <a:pt x="664513" y="784663"/>
                </a:cubicBezTo>
                <a:cubicBezTo>
                  <a:pt x="665660" y="779304"/>
                  <a:pt x="665686" y="775031"/>
                  <a:pt x="660380" y="771165"/>
                </a:cubicBezTo>
                <a:cubicBezTo>
                  <a:pt x="636661" y="753871"/>
                  <a:pt x="611807" y="737427"/>
                  <a:pt x="584959" y="722409"/>
                </a:cubicBezTo>
                <a:cubicBezTo>
                  <a:pt x="535282" y="694735"/>
                  <a:pt x="482226" y="670082"/>
                  <a:pt x="435649" y="639659"/>
                </a:cubicBezTo>
                <a:cubicBezTo>
                  <a:pt x="421965" y="630403"/>
                  <a:pt x="411440" y="619340"/>
                  <a:pt x="404944" y="606128"/>
                </a:cubicBezTo>
                <a:cubicBezTo>
                  <a:pt x="402872" y="601635"/>
                  <a:pt x="401613" y="595856"/>
                  <a:pt x="408476" y="591466"/>
                </a:cubicBezTo>
                <a:cubicBezTo>
                  <a:pt x="415044" y="587111"/>
                  <a:pt x="420320" y="590506"/>
                  <a:pt x="425225" y="592759"/>
                </a:cubicBezTo>
                <a:cubicBezTo>
                  <a:pt x="445746" y="601899"/>
                  <a:pt x="466578" y="611238"/>
                  <a:pt x="487115" y="620614"/>
                </a:cubicBezTo>
                <a:cubicBezTo>
                  <a:pt x="507947" y="629954"/>
                  <a:pt x="528514" y="639800"/>
                  <a:pt x="550277" y="649738"/>
                </a:cubicBezTo>
                <a:cubicBezTo>
                  <a:pt x="551408" y="644145"/>
                  <a:pt x="546904" y="643504"/>
                  <a:pt x="544421" y="641907"/>
                </a:cubicBezTo>
                <a:cubicBezTo>
                  <a:pt x="509355" y="619344"/>
                  <a:pt x="471190" y="599529"/>
                  <a:pt x="431905" y="580799"/>
                </a:cubicBezTo>
                <a:cubicBezTo>
                  <a:pt x="401512" y="566211"/>
                  <a:pt x="371947" y="550574"/>
                  <a:pt x="351177" y="528177"/>
                </a:cubicBezTo>
                <a:cubicBezTo>
                  <a:pt x="343180" y="519419"/>
                  <a:pt x="338696" y="509759"/>
                  <a:pt x="339749" y="498244"/>
                </a:cubicBezTo>
                <a:cubicBezTo>
                  <a:pt x="340115" y="494641"/>
                  <a:pt x="340481" y="491037"/>
                  <a:pt x="346313" y="489145"/>
                </a:cubicBezTo>
                <a:cubicBezTo>
                  <a:pt x="350979" y="487631"/>
                  <a:pt x="354067" y="489392"/>
                  <a:pt x="356579" y="491460"/>
                </a:cubicBezTo>
                <a:cubicBezTo>
                  <a:pt x="360984" y="495197"/>
                  <a:pt x="365388" y="498934"/>
                  <a:pt x="371505" y="501516"/>
                </a:cubicBezTo>
                <a:cubicBezTo>
                  <a:pt x="408203" y="517000"/>
                  <a:pt x="442659" y="534654"/>
                  <a:pt x="476275" y="553122"/>
                </a:cubicBezTo>
                <a:cubicBezTo>
                  <a:pt x="531461" y="583213"/>
                  <a:pt x="586103" y="614082"/>
                  <a:pt x="649952" y="635294"/>
                </a:cubicBezTo>
                <a:cubicBezTo>
                  <a:pt x="673972" y="643298"/>
                  <a:pt x="698805" y="650018"/>
                  <a:pt x="727161" y="651328"/>
                </a:cubicBezTo>
                <a:cubicBezTo>
                  <a:pt x="726126" y="649081"/>
                  <a:pt x="724263" y="647883"/>
                  <a:pt x="722417" y="646921"/>
                </a:cubicBezTo>
                <a:cubicBezTo>
                  <a:pt x="660627" y="615969"/>
                  <a:pt x="600830" y="583590"/>
                  <a:pt x="546079" y="546328"/>
                </a:cubicBezTo>
                <a:cubicBezTo>
                  <a:pt x="478576" y="500409"/>
                  <a:pt x="420223" y="448637"/>
                  <a:pt x="378182" y="386585"/>
                </a:cubicBezTo>
                <a:cubicBezTo>
                  <a:pt x="376229" y="383975"/>
                  <a:pt x="374884" y="381528"/>
                  <a:pt x="370158" y="382100"/>
                </a:cubicBezTo>
                <a:cubicBezTo>
                  <a:pt x="358064" y="383802"/>
                  <a:pt x="356583" y="379236"/>
                  <a:pt x="357861" y="371252"/>
                </a:cubicBezTo>
                <a:cubicBezTo>
                  <a:pt x="361373" y="351608"/>
                  <a:pt x="352380" y="336565"/>
                  <a:pt x="331313" y="328203"/>
                </a:cubicBezTo>
                <a:cubicBezTo>
                  <a:pt x="316037" y="321986"/>
                  <a:pt x="303183" y="316425"/>
                  <a:pt x="319354" y="299282"/>
                </a:cubicBezTo>
                <a:cubicBezTo>
                  <a:pt x="323265" y="295249"/>
                  <a:pt x="321459" y="290249"/>
                  <a:pt x="319682" y="285719"/>
                </a:cubicBezTo>
                <a:cubicBezTo>
                  <a:pt x="317166" y="278905"/>
                  <a:pt x="312080" y="273828"/>
                  <a:pt x="306391" y="268585"/>
                </a:cubicBezTo>
                <a:cubicBezTo>
                  <a:pt x="303227" y="265647"/>
                  <a:pt x="299399" y="261602"/>
                  <a:pt x="303294" y="257334"/>
                </a:cubicBezTo>
                <a:cubicBezTo>
                  <a:pt x="307735" y="252289"/>
                  <a:pt x="314131" y="254598"/>
                  <a:pt x="319242" y="255403"/>
                </a:cubicBezTo>
                <a:cubicBezTo>
                  <a:pt x="342683" y="258970"/>
                  <a:pt x="357062" y="269803"/>
                  <a:pt x="364093" y="286745"/>
                </a:cubicBezTo>
                <a:cubicBezTo>
                  <a:pt x="368651" y="297582"/>
                  <a:pt x="374307" y="297608"/>
                  <a:pt x="385301" y="287973"/>
                </a:cubicBezTo>
                <a:cubicBezTo>
                  <a:pt x="397712" y="277216"/>
                  <a:pt x="408079" y="276436"/>
                  <a:pt x="417598" y="285722"/>
                </a:cubicBezTo>
                <a:cubicBezTo>
                  <a:pt x="425226" y="293339"/>
                  <a:pt x="431406" y="301607"/>
                  <a:pt x="440155" y="308139"/>
                </a:cubicBezTo>
                <a:cubicBezTo>
                  <a:pt x="463623" y="326175"/>
                  <a:pt x="485720" y="346039"/>
                  <a:pt x="534406" y="339430"/>
                </a:cubicBezTo>
                <a:cubicBezTo>
                  <a:pt x="520872" y="332528"/>
                  <a:pt x="507316" y="334645"/>
                  <a:pt x="495633" y="333450"/>
                </a:cubicBezTo>
                <a:cubicBezTo>
                  <a:pt x="487244" y="332567"/>
                  <a:pt x="478750" y="330037"/>
                  <a:pt x="486289" y="322243"/>
                </a:cubicBezTo>
                <a:cubicBezTo>
                  <a:pt x="494951" y="313365"/>
                  <a:pt x="489365" y="309771"/>
                  <a:pt x="484000" y="304964"/>
                </a:cubicBezTo>
                <a:cubicBezTo>
                  <a:pt x="471673" y="293645"/>
                  <a:pt x="461604" y="280392"/>
                  <a:pt x="436911" y="280536"/>
                </a:cubicBezTo>
                <a:cubicBezTo>
                  <a:pt x="433041" y="280530"/>
                  <a:pt x="429923" y="278297"/>
                  <a:pt x="426865" y="277007"/>
                </a:cubicBezTo>
                <a:cubicBezTo>
                  <a:pt x="422581" y="275154"/>
                  <a:pt x="418872" y="272993"/>
                  <a:pt x="420654" y="268269"/>
                </a:cubicBezTo>
                <a:cubicBezTo>
                  <a:pt x="422468" y="264016"/>
                  <a:pt x="426748" y="261125"/>
                  <a:pt x="432329" y="259975"/>
                </a:cubicBezTo>
                <a:cubicBezTo>
                  <a:pt x="437320" y="258895"/>
                  <a:pt x="442621" y="258016"/>
                  <a:pt x="447672" y="257879"/>
                </a:cubicBezTo>
                <a:cubicBezTo>
                  <a:pt x="470223" y="256809"/>
                  <a:pt x="486254" y="265543"/>
                  <a:pt x="502242" y="273572"/>
                </a:cubicBezTo>
                <a:cubicBezTo>
                  <a:pt x="558179" y="301436"/>
                  <a:pt x="607891" y="334326"/>
                  <a:pt x="659874" y="365516"/>
                </a:cubicBezTo>
                <a:cubicBezTo>
                  <a:pt x="711842" y="396471"/>
                  <a:pt x="772192" y="418818"/>
                  <a:pt x="829177" y="444421"/>
                </a:cubicBezTo>
                <a:cubicBezTo>
                  <a:pt x="960626" y="503711"/>
                  <a:pt x="1092650" y="562693"/>
                  <a:pt x="1231903" y="613682"/>
                </a:cubicBezTo>
                <a:cubicBezTo>
                  <a:pt x="1368099" y="663381"/>
                  <a:pt x="1823141" y="686561"/>
                  <a:pt x="1911736" y="685084"/>
                </a:cubicBezTo>
                <a:cubicBezTo>
                  <a:pt x="2024994" y="682992"/>
                  <a:pt x="2291986" y="655399"/>
                  <a:pt x="2564313" y="632143"/>
                </a:cubicBezTo>
                <a:cubicBezTo>
                  <a:pt x="2595089" y="629364"/>
                  <a:pt x="2625288" y="626893"/>
                  <a:pt x="2657304" y="624913"/>
                </a:cubicBezTo>
                <a:cubicBezTo>
                  <a:pt x="3564401" y="568191"/>
                  <a:pt x="4203594" y="276765"/>
                  <a:pt x="4235818" y="259339"/>
                </a:cubicBezTo>
                <a:cubicBezTo>
                  <a:pt x="4287616" y="231474"/>
                  <a:pt x="4460006" y="176429"/>
                  <a:pt x="4460331" y="176864"/>
                </a:cubicBezTo>
                <a:cubicBezTo>
                  <a:pt x="4464175" y="181144"/>
                  <a:pt x="4483735" y="184529"/>
                  <a:pt x="4499578" y="186791"/>
                </a:cubicBezTo>
                <a:lnTo>
                  <a:pt x="4514640" y="188841"/>
                </a:lnTo>
                <a:lnTo>
                  <a:pt x="4516523" y="189988"/>
                </a:lnTo>
                <a:cubicBezTo>
                  <a:pt x="4522035" y="190091"/>
                  <a:pt x="4521760" y="189857"/>
                  <a:pt x="4518126" y="189316"/>
                </a:cubicBezTo>
                <a:lnTo>
                  <a:pt x="4514640" y="188841"/>
                </a:lnTo>
                <a:lnTo>
                  <a:pt x="4511569" y="186970"/>
                </a:lnTo>
                <a:cubicBezTo>
                  <a:pt x="4510788" y="185226"/>
                  <a:pt x="4510719" y="182981"/>
                  <a:pt x="4510888" y="180943"/>
                </a:cubicBezTo>
                <a:cubicBezTo>
                  <a:pt x="4511690" y="170169"/>
                  <a:pt x="4517648" y="160906"/>
                  <a:pt x="4531865" y="155151"/>
                </a:cubicBezTo>
                <a:cubicBezTo>
                  <a:pt x="4545507" y="149703"/>
                  <a:pt x="4559473" y="144689"/>
                  <a:pt x="4573441" y="139676"/>
                </a:cubicBezTo>
                <a:cubicBezTo>
                  <a:pt x="4585075" y="135420"/>
                  <a:pt x="4593048" y="134454"/>
                  <a:pt x="4594964" y="145847"/>
                </a:cubicBezTo>
                <a:cubicBezTo>
                  <a:pt x="4596879" y="157242"/>
                  <a:pt x="4613452" y="160454"/>
                  <a:pt x="4623059" y="152410"/>
                </a:cubicBezTo>
                <a:cubicBezTo>
                  <a:pt x="4660632" y="120811"/>
                  <a:pt x="4705757" y="95654"/>
                  <a:pt x="4748356" y="68192"/>
                </a:cubicBezTo>
                <a:cubicBezTo>
                  <a:pt x="4778098" y="49168"/>
                  <a:pt x="4809406" y="31378"/>
                  <a:pt x="4833812" y="8017"/>
                </a:cubicBezTo>
                <a:cubicBezTo>
                  <a:pt x="4838299" y="3678"/>
                  <a:pt x="4842399" y="-2039"/>
                  <a:pt x="4850908" y="727"/>
                </a:cubicBezTo>
                <a:close/>
              </a:path>
            </a:pathLst>
          </a:custGeom>
          <a:solidFill>
            <a:schemeClr val="bg2">
              <a:alpha val="50000"/>
            </a:schemeClr>
          </a:solidFill>
          <a:ln w="32707" cap="flat">
            <a:noFill/>
            <a:prstDash val="solid"/>
            <a:miter/>
          </a:ln>
        </p:spPr>
        <p:txBody>
          <a:bodyPr wrap="square" rtlCol="0" anchor="ctr">
            <a:noAutofit/>
          </a:bodyPr>
          <a:lstStyle/>
          <a:p>
            <a:pPr algn="ctr"/>
            <a:endParaRPr lang="en-US">
              <a:solidFill>
                <a:schemeClr val="tx1"/>
              </a:solidFill>
            </a:endParaRPr>
          </a:p>
        </p:txBody>
      </p:sp>
      <p:graphicFrame>
        <p:nvGraphicFramePr>
          <p:cNvPr id="5" name="Content Placeholder 2">
            <a:extLst>
              <a:ext uri="{FF2B5EF4-FFF2-40B4-BE49-F238E27FC236}">
                <a16:creationId xmlns:a16="http://schemas.microsoft.com/office/drawing/2014/main" id="{07EE1FC6-5BB3-968E-3A0D-C729982AE6B2}"/>
              </a:ext>
            </a:extLst>
          </p:cNvPr>
          <p:cNvGraphicFramePr>
            <a:graphicFrameLocks noGrp="1"/>
          </p:cNvGraphicFramePr>
          <p:nvPr>
            <p:ph idx="1"/>
            <p:extLst>
              <p:ext uri="{D42A27DB-BD31-4B8C-83A1-F6EECF244321}">
                <p14:modId xmlns:p14="http://schemas.microsoft.com/office/powerpoint/2010/main" val="688487300"/>
              </p:ext>
            </p:extLst>
          </p:nvPr>
        </p:nvGraphicFramePr>
        <p:xfrm>
          <a:off x="378145" y="2693193"/>
          <a:ext cx="8378397" cy="41648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reeform: Shape 31">
            <a:extLst>
              <a:ext uri="{FF2B5EF4-FFF2-40B4-BE49-F238E27FC236}">
                <a16:creationId xmlns:a16="http://schemas.microsoft.com/office/drawing/2014/main" id="{32C09027-C0B1-F63D-28AD-313E8D4CC37D}"/>
              </a:ext>
            </a:extLst>
          </p:cNvPr>
          <p:cNvSpPr>
            <a:spLocks/>
          </p:cNvSpPr>
          <p:nvPr/>
        </p:nvSpPr>
        <p:spPr bwMode="auto">
          <a:xfrm>
            <a:off x="2071603" y="148195"/>
            <a:ext cx="1814513" cy="1814513"/>
          </a:xfrm>
          <a:custGeom>
            <a:avLst/>
            <a:gdLst>
              <a:gd name="connsiteX0" fmla="*/ 1209675 w 2419350"/>
              <a:gd name="connsiteY0" fmla="*/ 0 h 2419350"/>
              <a:gd name="connsiteX1" fmla="*/ 1693545 w 2419350"/>
              <a:gd name="connsiteY1" fmla="*/ 483273 h 2419350"/>
              <a:gd name="connsiteX2" fmla="*/ 1747308 w 2419350"/>
              <a:gd name="connsiteY2" fmla="*/ 241637 h 2419350"/>
              <a:gd name="connsiteX3" fmla="*/ 2141573 w 2419350"/>
              <a:gd name="connsiteY3" fmla="*/ 277435 h 2419350"/>
              <a:gd name="connsiteX4" fmla="*/ 2180402 w 2419350"/>
              <a:gd name="connsiteY4" fmla="*/ 674196 h 2419350"/>
              <a:gd name="connsiteX5" fmla="*/ 1938467 w 2419350"/>
              <a:gd name="connsiteY5" fmla="*/ 727893 h 2419350"/>
              <a:gd name="connsiteX6" fmla="*/ 2419350 w 2419350"/>
              <a:gd name="connsiteY6" fmla="*/ 1211167 h 2419350"/>
              <a:gd name="connsiteX7" fmla="*/ 1938467 w 2419350"/>
              <a:gd name="connsiteY7" fmla="*/ 1691457 h 2419350"/>
              <a:gd name="connsiteX8" fmla="*/ 2180402 w 2419350"/>
              <a:gd name="connsiteY8" fmla="*/ 1745154 h 2419350"/>
              <a:gd name="connsiteX9" fmla="*/ 2141573 w 2419350"/>
              <a:gd name="connsiteY9" fmla="*/ 2141915 h 2419350"/>
              <a:gd name="connsiteX10" fmla="*/ 1747308 w 2419350"/>
              <a:gd name="connsiteY10" fmla="*/ 2180697 h 2419350"/>
              <a:gd name="connsiteX11" fmla="*/ 1693545 w 2419350"/>
              <a:gd name="connsiteY11" fmla="*/ 1939060 h 2419350"/>
              <a:gd name="connsiteX12" fmla="*/ 1209675 w 2419350"/>
              <a:gd name="connsiteY12" fmla="*/ 2419350 h 2419350"/>
              <a:gd name="connsiteX13" fmla="*/ 1202115 w 2419350"/>
              <a:gd name="connsiteY13" fmla="*/ 2411845 h 2419350"/>
              <a:gd name="connsiteX14" fmla="*/ 1193678 w 2419350"/>
              <a:gd name="connsiteY14" fmla="*/ 2403471 h 2419350"/>
              <a:gd name="connsiteX15" fmla="*/ 1184158 w 2419350"/>
              <a:gd name="connsiteY15" fmla="*/ 2394022 h 2419350"/>
              <a:gd name="connsiteX16" fmla="*/ 725805 w 2419350"/>
              <a:gd name="connsiteY16" fmla="*/ 1939060 h 2419350"/>
              <a:gd name="connsiteX17" fmla="*/ 672041 w 2419350"/>
              <a:gd name="connsiteY17" fmla="*/ 2180697 h 2419350"/>
              <a:gd name="connsiteX18" fmla="*/ 277777 w 2419350"/>
              <a:gd name="connsiteY18" fmla="*/ 2141915 h 2419350"/>
              <a:gd name="connsiteX19" fmla="*/ 238948 w 2419350"/>
              <a:gd name="connsiteY19" fmla="*/ 1745154 h 2419350"/>
              <a:gd name="connsiteX20" fmla="*/ 414099 w 2419350"/>
              <a:gd name="connsiteY20" fmla="*/ 1681389 h 2419350"/>
              <a:gd name="connsiteX21" fmla="*/ 480703 w 2419350"/>
              <a:gd name="connsiteY21" fmla="*/ 1691430 h 2419350"/>
              <a:gd name="connsiteX22" fmla="*/ 480883 w 2419350"/>
              <a:gd name="connsiteY22" fmla="*/ 1691457 h 2419350"/>
              <a:gd name="connsiteX23" fmla="*/ 0 w 2419350"/>
              <a:gd name="connsiteY23" fmla="*/ 1211167 h 2419350"/>
              <a:gd name="connsiteX24" fmla="*/ 1209675 w 2419350"/>
              <a:gd name="connsiteY24" fmla="*/ 0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19350" h="2419350">
                <a:moveTo>
                  <a:pt x="1209675" y="0"/>
                </a:moveTo>
                <a:cubicBezTo>
                  <a:pt x="1209675" y="0"/>
                  <a:pt x="1209675" y="0"/>
                  <a:pt x="1693545" y="483273"/>
                </a:cubicBezTo>
                <a:cubicBezTo>
                  <a:pt x="1666663" y="393778"/>
                  <a:pt x="1684584" y="304283"/>
                  <a:pt x="1747308" y="241637"/>
                </a:cubicBezTo>
                <a:cubicBezTo>
                  <a:pt x="1845874" y="143192"/>
                  <a:pt x="2022099" y="158108"/>
                  <a:pt x="2141573" y="277435"/>
                </a:cubicBezTo>
                <a:cubicBezTo>
                  <a:pt x="2261047" y="396762"/>
                  <a:pt x="2278968" y="575752"/>
                  <a:pt x="2180402" y="674196"/>
                </a:cubicBezTo>
                <a:cubicBezTo>
                  <a:pt x="2117678" y="736843"/>
                  <a:pt x="2028072" y="751759"/>
                  <a:pt x="1938467" y="727893"/>
                </a:cubicBezTo>
                <a:cubicBezTo>
                  <a:pt x="1938467" y="727893"/>
                  <a:pt x="1938467" y="727893"/>
                  <a:pt x="2419350" y="1211167"/>
                </a:cubicBezTo>
                <a:cubicBezTo>
                  <a:pt x="2419350" y="1211167"/>
                  <a:pt x="2419350" y="1211167"/>
                  <a:pt x="1938467" y="1691457"/>
                </a:cubicBezTo>
                <a:cubicBezTo>
                  <a:pt x="2028072" y="1667592"/>
                  <a:pt x="2117678" y="1685491"/>
                  <a:pt x="2180402" y="1745154"/>
                </a:cubicBezTo>
                <a:cubicBezTo>
                  <a:pt x="2278968" y="1846582"/>
                  <a:pt x="2261047" y="2022589"/>
                  <a:pt x="2141573" y="2141915"/>
                </a:cubicBezTo>
                <a:cubicBezTo>
                  <a:pt x="2022099" y="2261242"/>
                  <a:pt x="1845874" y="2279141"/>
                  <a:pt x="1747308" y="2180697"/>
                </a:cubicBezTo>
                <a:cubicBezTo>
                  <a:pt x="1684584" y="2118050"/>
                  <a:pt x="1666663" y="2025572"/>
                  <a:pt x="1693545" y="1939060"/>
                </a:cubicBezTo>
                <a:cubicBezTo>
                  <a:pt x="1693545" y="1939060"/>
                  <a:pt x="1693545" y="1939060"/>
                  <a:pt x="1209675" y="2419350"/>
                </a:cubicBezTo>
                <a:cubicBezTo>
                  <a:pt x="1209675" y="2419350"/>
                  <a:pt x="1209675" y="2419350"/>
                  <a:pt x="1202115" y="2411845"/>
                </a:cubicBezTo>
                <a:lnTo>
                  <a:pt x="1193678" y="2403471"/>
                </a:lnTo>
                <a:lnTo>
                  <a:pt x="1184158" y="2394022"/>
                </a:lnTo>
                <a:cubicBezTo>
                  <a:pt x="1141631" y="2351809"/>
                  <a:pt x="1028224" y="2239241"/>
                  <a:pt x="725805" y="1939060"/>
                </a:cubicBezTo>
                <a:cubicBezTo>
                  <a:pt x="752686" y="2025572"/>
                  <a:pt x="734765" y="2118050"/>
                  <a:pt x="672041" y="2180697"/>
                </a:cubicBezTo>
                <a:cubicBezTo>
                  <a:pt x="573475" y="2279141"/>
                  <a:pt x="397251" y="2261242"/>
                  <a:pt x="277777" y="2141915"/>
                </a:cubicBezTo>
                <a:cubicBezTo>
                  <a:pt x="158303" y="2022589"/>
                  <a:pt x="140382" y="1846582"/>
                  <a:pt x="238948" y="1745154"/>
                </a:cubicBezTo>
                <a:cubicBezTo>
                  <a:pt x="285991" y="1700407"/>
                  <a:pt x="348155" y="1679152"/>
                  <a:pt x="414099" y="1681389"/>
                </a:cubicBezTo>
                <a:lnTo>
                  <a:pt x="480703" y="1691430"/>
                </a:lnTo>
                <a:lnTo>
                  <a:pt x="480883" y="1691457"/>
                </a:lnTo>
                <a:cubicBezTo>
                  <a:pt x="480883" y="1691457"/>
                  <a:pt x="480883" y="1691457"/>
                  <a:pt x="0" y="1211167"/>
                </a:cubicBezTo>
                <a:cubicBezTo>
                  <a:pt x="0" y="1211167"/>
                  <a:pt x="0" y="1211167"/>
                  <a:pt x="1209675" y="0"/>
                </a:cubicBezTo>
                <a:close/>
              </a:path>
            </a:pathLst>
          </a:custGeom>
          <a:solidFill>
            <a:srgbClr val="FFCC34">
              <a:alpha val="54000"/>
            </a:srgbClr>
          </a:solidFill>
          <a:ln>
            <a:noFill/>
          </a:ln>
        </p:spPr>
        <p:txBody>
          <a:bodyPr vert="horz" wrap="square" lIns="68580" tIns="34290" rIns="68580" bIns="34290" numCol="1" anchor="t" anchorCtr="0" compatLnSpc="1">
            <a:prstTxWarp prst="textNoShape">
              <a:avLst/>
            </a:prstTxWarp>
            <a:noAutofit/>
          </a:bodyPr>
          <a:lstStyle/>
          <a:p>
            <a:endParaRPr lang="en-US" sz="1350"/>
          </a:p>
        </p:txBody>
      </p:sp>
      <p:sp>
        <p:nvSpPr>
          <p:cNvPr id="6" name="Freeform: Shape 33">
            <a:extLst>
              <a:ext uri="{FF2B5EF4-FFF2-40B4-BE49-F238E27FC236}">
                <a16:creationId xmlns:a16="http://schemas.microsoft.com/office/drawing/2014/main" id="{48E80230-570A-63B1-86F7-769EA843C6C7}"/>
              </a:ext>
            </a:extLst>
          </p:cNvPr>
          <p:cNvSpPr>
            <a:spLocks/>
          </p:cNvSpPr>
          <p:nvPr/>
        </p:nvSpPr>
        <p:spPr bwMode="auto">
          <a:xfrm>
            <a:off x="0" y="197643"/>
            <a:ext cx="1816858" cy="1814513"/>
          </a:xfrm>
          <a:custGeom>
            <a:avLst/>
            <a:gdLst>
              <a:gd name="connsiteX0" fmla="*/ 1212756 w 2422477"/>
              <a:gd name="connsiteY0" fmla="*/ 0 h 2419350"/>
              <a:gd name="connsiteX1" fmla="*/ 1693553 w 2422477"/>
              <a:gd name="connsiteY1" fmla="*/ 480167 h 2419350"/>
              <a:gd name="connsiteX2" fmla="*/ 1626949 w 2422477"/>
              <a:gd name="connsiteY2" fmla="*/ 470126 h 2419350"/>
              <a:gd name="connsiteX3" fmla="*/ 1451798 w 2422477"/>
              <a:gd name="connsiteY3" fmla="*/ 533891 h 2419350"/>
              <a:gd name="connsiteX4" fmla="*/ 1490627 w 2422477"/>
              <a:gd name="connsiteY4" fmla="*/ 930652 h 2419350"/>
              <a:gd name="connsiteX5" fmla="*/ 1884891 w 2422477"/>
              <a:gd name="connsiteY5" fmla="*/ 969434 h 2419350"/>
              <a:gd name="connsiteX6" fmla="*/ 1938655 w 2422477"/>
              <a:gd name="connsiteY6" fmla="*/ 727797 h 2419350"/>
              <a:gd name="connsiteX7" fmla="*/ 2397008 w 2422477"/>
              <a:gd name="connsiteY7" fmla="*/ 1182759 h 2419350"/>
              <a:gd name="connsiteX8" fmla="*/ 2406528 w 2422477"/>
              <a:gd name="connsiteY8" fmla="*/ 1192208 h 2419350"/>
              <a:gd name="connsiteX9" fmla="*/ 2422477 w 2422477"/>
              <a:gd name="connsiteY9" fmla="*/ 1208136 h 2419350"/>
              <a:gd name="connsiteX10" fmla="*/ 2337352 w 2422477"/>
              <a:gd name="connsiteY10" fmla="*/ 1293155 h 2419350"/>
              <a:gd name="connsiteX11" fmla="*/ 1938655 w 2422477"/>
              <a:gd name="connsiteY11" fmla="*/ 1691361 h 2419350"/>
              <a:gd name="connsiteX12" fmla="*/ 1884891 w 2422477"/>
              <a:gd name="connsiteY12" fmla="*/ 1449724 h 2419350"/>
              <a:gd name="connsiteX13" fmla="*/ 1490627 w 2422477"/>
              <a:gd name="connsiteY13" fmla="*/ 1485522 h 2419350"/>
              <a:gd name="connsiteX14" fmla="*/ 1451798 w 2422477"/>
              <a:gd name="connsiteY14" fmla="*/ 1882283 h 2419350"/>
              <a:gd name="connsiteX15" fmla="*/ 1693733 w 2422477"/>
              <a:gd name="connsiteY15" fmla="*/ 1935980 h 2419350"/>
              <a:gd name="connsiteX16" fmla="*/ 1212850 w 2422477"/>
              <a:gd name="connsiteY16" fmla="*/ 2416271 h 2419350"/>
              <a:gd name="connsiteX17" fmla="*/ 1214338 w 2422477"/>
              <a:gd name="connsiteY17" fmla="*/ 2417766 h 2419350"/>
              <a:gd name="connsiteX18" fmla="*/ 1212756 w 2422477"/>
              <a:gd name="connsiteY18" fmla="*/ 2419350 h 2419350"/>
              <a:gd name="connsiteX19" fmla="*/ 716900 w 2422477"/>
              <a:gd name="connsiteY19" fmla="*/ 1924144 h 2419350"/>
              <a:gd name="connsiteX20" fmla="*/ 976776 w 2422477"/>
              <a:gd name="connsiteY20" fmla="*/ 1876413 h 2419350"/>
              <a:gd name="connsiteX21" fmla="*/ 940931 w 2422477"/>
              <a:gd name="connsiteY21" fmla="*/ 1479652 h 2419350"/>
              <a:gd name="connsiteX22" fmla="*/ 543649 w 2422477"/>
              <a:gd name="connsiteY22" fmla="*/ 1440871 h 2419350"/>
              <a:gd name="connsiteX23" fmla="*/ 495856 w 2422477"/>
              <a:gd name="connsiteY23" fmla="*/ 1703390 h 2419350"/>
              <a:gd name="connsiteX24" fmla="*/ 0 w 2422477"/>
              <a:gd name="connsiteY24" fmla="*/ 1208184 h 2419350"/>
              <a:gd name="connsiteX25" fmla="*/ 480920 w 2422477"/>
              <a:gd name="connsiteY25" fmla="*/ 730877 h 2419350"/>
              <a:gd name="connsiteX26" fmla="*/ 238966 w 2422477"/>
              <a:gd name="connsiteY26" fmla="*/ 677180 h 2419350"/>
              <a:gd name="connsiteX27" fmla="*/ 274811 w 2422477"/>
              <a:gd name="connsiteY27" fmla="*/ 280418 h 2419350"/>
              <a:gd name="connsiteX28" fmla="*/ 672094 w 2422477"/>
              <a:gd name="connsiteY28" fmla="*/ 241637 h 2419350"/>
              <a:gd name="connsiteX29" fmla="*/ 725861 w 2422477"/>
              <a:gd name="connsiteY29" fmla="*/ 486257 h 2419350"/>
              <a:gd name="connsiteX30" fmla="*/ 1212756 w 2422477"/>
              <a:gd name="connsiteY30" fmla="*/ 0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22477" h="2419350">
                <a:moveTo>
                  <a:pt x="1212756" y="0"/>
                </a:moveTo>
                <a:lnTo>
                  <a:pt x="1693553" y="480167"/>
                </a:lnTo>
                <a:lnTo>
                  <a:pt x="1626949" y="470126"/>
                </a:lnTo>
                <a:cubicBezTo>
                  <a:pt x="1561005" y="467889"/>
                  <a:pt x="1498841" y="489144"/>
                  <a:pt x="1451798" y="533891"/>
                </a:cubicBezTo>
                <a:cubicBezTo>
                  <a:pt x="1353232" y="635319"/>
                  <a:pt x="1371153" y="811326"/>
                  <a:pt x="1490627" y="930652"/>
                </a:cubicBezTo>
                <a:cubicBezTo>
                  <a:pt x="1610101" y="1049979"/>
                  <a:pt x="1786325" y="1067878"/>
                  <a:pt x="1884891" y="969434"/>
                </a:cubicBezTo>
                <a:cubicBezTo>
                  <a:pt x="1947615" y="906787"/>
                  <a:pt x="1965536" y="814309"/>
                  <a:pt x="1938655" y="727797"/>
                </a:cubicBezTo>
                <a:cubicBezTo>
                  <a:pt x="2241074" y="1027978"/>
                  <a:pt x="2354481" y="1140546"/>
                  <a:pt x="2397008" y="1182759"/>
                </a:cubicBezTo>
                <a:lnTo>
                  <a:pt x="2406528" y="1192208"/>
                </a:lnTo>
                <a:lnTo>
                  <a:pt x="2422477" y="1208136"/>
                </a:lnTo>
                <a:lnTo>
                  <a:pt x="2337352" y="1293155"/>
                </a:lnTo>
                <a:cubicBezTo>
                  <a:pt x="1938655" y="1691361"/>
                  <a:pt x="1938655" y="1691361"/>
                  <a:pt x="1938655" y="1691361"/>
                </a:cubicBezTo>
                <a:cubicBezTo>
                  <a:pt x="1965536" y="1601865"/>
                  <a:pt x="1947615" y="1509387"/>
                  <a:pt x="1884891" y="1449724"/>
                </a:cubicBezTo>
                <a:cubicBezTo>
                  <a:pt x="1786325" y="1351279"/>
                  <a:pt x="1610101" y="1366195"/>
                  <a:pt x="1490627" y="1485522"/>
                </a:cubicBezTo>
                <a:cubicBezTo>
                  <a:pt x="1371153" y="1604849"/>
                  <a:pt x="1353232" y="1783839"/>
                  <a:pt x="1451798" y="1882283"/>
                </a:cubicBezTo>
                <a:cubicBezTo>
                  <a:pt x="1514522" y="1941947"/>
                  <a:pt x="1604127" y="1959846"/>
                  <a:pt x="1693733" y="1935980"/>
                </a:cubicBezTo>
                <a:cubicBezTo>
                  <a:pt x="1212850" y="2416271"/>
                  <a:pt x="1212850" y="2416271"/>
                  <a:pt x="1212850" y="2416271"/>
                </a:cubicBezTo>
                <a:lnTo>
                  <a:pt x="1214338" y="2417766"/>
                </a:lnTo>
                <a:lnTo>
                  <a:pt x="1212756" y="2419350"/>
                </a:lnTo>
                <a:cubicBezTo>
                  <a:pt x="1212756" y="2419350"/>
                  <a:pt x="1212756" y="2419350"/>
                  <a:pt x="716900" y="1924144"/>
                </a:cubicBezTo>
                <a:cubicBezTo>
                  <a:pt x="812487" y="1956959"/>
                  <a:pt x="911060" y="1942043"/>
                  <a:pt x="976776" y="1876413"/>
                </a:cubicBezTo>
                <a:cubicBezTo>
                  <a:pt x="1078337" y="1774986"/>
                  <a:pt x="1060415" y="1598979"/>
                  <a:pt x="940931" y="1479652"/>
                </a:cubicBezTo>
                <a:cubicBezTo>
                  <a:pt x="821448" y="1360325"/>
                  <a:pt x="642223" y="1342426"/>
                  <a:pt x="543649" y="1440871"/>
                </a:cubicBezTo>
                <a:cubicBezTo>
                  <a:pt x="477933" y="1509484"/>
                  <a:pt x="462998" y="1607928"/>
                  <a:pt x="495856" y="1703390"/>
                </a:cubicBezTo>
                <a:cubicBezTo>
                  <a:pt x="495856" y="1703390"/>
                  <a:pt x="495856" y="1703390"/>
                  <a:pt x="0" y="1208184"/>
                </a:cubicBezTo>
                <a:cubicBezTo>
                  <a:pt x="0" y="1208184"/>
                  <a:pt x="0" y="1208184"/>
                  <a:pt x="480920" y="730877"/>
                </a:cubicBezTo>
                <a:cubicBezTo>
                  <a:pt x="391308" y="754742"/>
                  <a:pt x="298708" y="736843"/>
                  <a:pt x="238966" y="677180"/>
                </a:cubicBezTo>
                <a:cubicBezTo>
                  <a:pt x="137406" y="575752"/>
                  <a:pt x="155328" y="399745"/>
                  <a:pt x="274811" y="280418"/>
                </a:cubicBezTo>
                <a:cubicBezTo>
                  <a:pt x="394295" y="161091"/>
                  <a:pt x="573520" y="143192"/>
                  <a:pt x="672094" y="241637"/>
                </a:cubicBezTo>
                <a:cubicBezTo>
                  <a:pt x="731835" y="304283"/>
                  <a:pt x="749758" y="396762"/>
                  <a:pt x="725861" y="486257"/>
                </a:cubicBezTo>
                <a:cubicBezTo>
                  <a:pt x="725861" y="486257"/>
                  <a:pt x="725861" y="486257"/>
                  <a:pt x="1212756" y="0"/>
                </a:cubicBezTo>
                <a:close/>
              </a:path>
            </a:pathLst>
          </a:custGeom>
          <a:solidFill>
            <a:srgbClr val="FF4300">
              <a:alpha val="54000"/>
            </a:srgbClr>
          </a:solidFill>
          <a:ln>
            <a:noFill/>
          </a:ln>
        </p:spPr>
        <p:txBody>
          <a:bodyPr vert="horz" wrap="square" lIns="68580" tIns="34290" rIns="68580" bIns="34290" numCol="1" anchor="t" anchorCtr="0" compatLnSpc="1">
            <a:prstTxWarp prst="textNoShape">
              <a:avLst/>
            </a:prstTxWarp>
            <a:noAutofit/>
          </a:bodyPr>
          <a:lstStyle/>
          <a:p>
            <a:endParaRPr lang="en-US" sz="1350"/>
          </a:p>
        </p:txBody>
      </p:sp>
      <p:sp>
        <p:nvSpPr>
          <p:cNvPr id="8" name="Freeform: Shape 32">
            <a:extLst>
              <a:ext uri="{FF2B5EF4-FFF2-40B4-BE49-F238E27FC236}">
                <a16:creationId xmlns:a16="http://schemas.microsoft.com/office/drawing/2014/main" id="{05A79B6F-C91F-D989-E13F-83BC9F4DF568}"/>
              </a:ext>
            </a:extLst>
          </p:cNvPr>
          <p:cNvSpPr>
            <a:spLocks/>
          </p:cNvSpPr>
          <p:nvPr/>
        </p:nvSpPr>
        <p:spPr bwMode="auto">
          <a:xfrm rot="20818138">
            <a:off x="4709835" y="16439"/>
            <a:ext cx="1814512" cy="1814513"/>
          </a:xfrm>
          <a:custGeom>
            <a:avLst/>
            <a:gdLst>
              <a:gd name="connsiteX0" fmla="*/ 1209674 w 2419349"/>
              <a:gd name="connsiteY0" fmla="*/ 0 h 2419350"/>
              <a:gd name="connsiteX1" fmla="*/ 1690557 w 2419349"/>
              <a:gd name="connsiteY1" fmla="*/ 483274 h 2419350"/>
              <a:gd name="connsiteX2" fmla="*/ 1747307 w 2419349"/>
              <a:gd name="connsiteY2" fmla="*/ 241637 h 2419350"/>
              <a:gd name="connsiteX3" fmla="*/ 2141572 w 2419349"/>
              <a:gd name="connsiteY3" fmla="*/ 277435 h 2419350"/>
              <a:gd name="connsiteX4" fmla="*/ 2180401 w 2419349"/>
              <a:gd name="connsiteY4" fmla="*/ 674196 h 2419350"/>
              <a:gd name="connsiteX5" fmla="*/ 1938466 w 2419349"/>
              <a:gd name="connsiteY5" fmla="*/ 727893 h 2419350"/>
              <a:gd name="connsiteX6" fmla="*/ 2419349 w 2419349"/>
              <a:gd name="connsiteY6" fmla="*/ 1208184 h 2419350"/>
              <a:gd name="connsiteX7" fmla="*/ 1923531 w 2419349"/>
              <a:gd name="connsiteY7" fmla="*/ 1703390 h 2419350"/>
              <a:gd name="connsiteX8" fmla="*/ 1875742 w 2419349"/>
              <a:gd name="connsiteY8" fmla="*/ 1443854 h 2419350"/>
              <a:gd name="connsiteX9" fmla="*/ 1481477 w 2419349"/>
              <a:gd name="connsiteY9" fmla="*/ 1479652 h 2419350"/>
              <a:gd name="connsiteX10" fmla="*/ 1442648 w 2419349"/>
              <a:gd name="connsiteY10" fmla="*/ 1876413 h 2419350"/>
              <a:gd name="connsiteX11" fmla="*/ 1705491 w 2419349"/>
              <a:gd name="connsiteY11" fmla="*/ 1924144 h 2419350"/>
              <a:gd name="connsiteX12" fmla="*/ 1209674 w 2419349"/>
              <a:gd name="connsiteY12" fmla="*/ 2419350 h 2419350"/>
              <a:gd name="connsiteX13" fmla="*/ 707883 w 2419349"/>
              <a:gd name="connsiteY13" fmla="*/ 1918178 h 2419350"/>
              <a:gd name="connsiteX14" fmla="*/ 663080 w 2419349"/>
              <a:gd name="connsiteY14" fmla="*/ 2189646 h 2419350"/>
              <a:gd name="connsiteX15" fmla="*/ 265829 w 2419349"/>
              <a:gd name="connsiteY15" fmla="*/ 2150865 h 2419350"/>
              <a:gd name="connsiteX16" fmla="*/ 229986 w 2419349"/>
              <a:gd name="connsiteY16" fmla="*/ 1757087 h 2419350"/>
              <a:gd name="connsiteX17" fmla="*/ 501790 w 2419349"/>
              <a:gd name="connsiteY17" fmla="*/ 1712339 h 2419350"/>
              <a:gd name="connsiteX18" fmla="*/ 88327 w 2419349"/>
              <a:gd name="connsiteY18" fmla="*/ 1296928 h 2419350"/>
              <a:gd name="connsiteX19" fmla="*/ 1487 w 2419349"/>
              <a:gd name="connsiteY19" fmla="*/ 1209679 h 2419350"/>
              <a:gd name="connsiteX20" fmla="*/ 1488 w 2419349"/>
              <a:gd name="connsiteY20" fmla="*/ 1209679 h 2419350"/>
              <a:gd name="connsiteX21" fmla="*/ 0 w 2419349"/>
              <a:gd name="connsiteY21" fmla="*/ 1208184 h 2419350"/>
              <a:gd name="connsiteX22" fmla="*/ 480883 w 2419349"/>
              <a:gd name="connsiteY22" fmla="*/ 727893 h 2419350"/>
              <a:gd name="connsiteX23" fmla="*/ 238948 w 2419349"/>
              <a:gd name="connsiteY23" fmla="*/ 674196 h 2419350"/>
              <a:gd name="connsiteX24" fmla="*/ 277777 w 2419349"/>
              <a:gd name="connsiteY24" fmla="*/ 277435 h 2419350"/>
              <a:gd name="connsiteX25" fmla="*/ 672041 w 2419349"/>
              <a:gd name="connsiteY25" fmla="*/ 241637 h 2419350"/>
              <a:gd name="connsiteX26" fmla="*/ 725805 w 2419349"/>
              <a:gd name="connsiteY26" fmla="*/ 483274 h 2419350"/>
              <a:gd name="connsiteX27" fmla="*/ 1124502 w 2419349"/>
              <a:gd name="connsiteY27" fmla="*/ 85068 h 2419350"/>
              <a:gd name="connsiteX28" fmla="*/ 1209627 w 2419349"/>
              <a:gd name="connsiteY28" fmla="*/ 50 h 2419350"/>
              <a:gd name="connsiteX29" fmla="*/ 1209626 w 2419349"/>
              <a:gd name="connsiteY29" fmla="*/ 49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19349" h="2419350">
                <a:moveTo>
                  <a:pt x="1209674" y="0"/>
                </a:moveTo>
                <a:cubicBezTo>
                  <a:pt x="1209674" y="0"/>
                  <a:pt x="1209674" y="0"/>
                  <a:pt x="1690557" y="483274"/>
                </a:cubicBezTo>
                <a:cubicBezTo>
                  <a:pt x="1666662" y="393778"/>
                  <a:pt x="1684583" y="301300"/>
                  <a:pt x="1747307" y="241637"/>
                </a:cubicBezTo>
                <a:cubicBezTo>
                  <a:pt x="1845873" y="140209"/>
                  <a:pt x="2022098" y="158108"/>
                  <a:pt x="2141572" y="277435"/>
                </a:cubicBezTo>
                <a:cubicBezTo>
                  <a:pt x="2261046" y="396762"/>
                  <a:pt x="2278967" y="575752"/>
                  <a:pt x="2180401" y="674196"/>
                </a:cubicBezTo>
                <a:cubicBezTo>
                  <a:pt x="2117677" y="733860"/>
                  <a:pt x="2028071" y="751759"/>
                  <a:pt x="1938466" y="727893"/>
                </a:cubicBezTo>
                <a:cubicBezTo>
                  <a:pt x="1938466" y="727893"/>
                  <a:pt x="1938466" y="727893"/>
                  <a:pt x="2419349" y="1208184"/>
                </a:cubicBezTo>
                <a:cubicBezTo>
                  <a:pt x="2419349" y="1208184"/>
                  <a:pt x="2419349" y="1208184"/>
                  <a:pt x="1923531" y="1703390"/>
                </a:cubicBezTo>
                <a:cubicBezTo>
                  <a:pt x="1956387" y="1610911"/>
                  <a:pt x="1941453" y="1509484"/>
                  <a:pt x="1875742" y="1443854"/>
                </a:cubicBezTo>
                <a:cubicBezTo>
                  <a:pt x="1777176" y="1345409"/>
                  <a:pt x="1600951" y="1360325"/>
                  <a:pt x="1481477" y="1479652"/>
                </a:cubicBezTo>
                <a:cubicBezTo>
                  <a:pt x="1362003" y="1598979"/>
                  <a:pt x="1344082" y="1777969"/>
                  <a:pt x="1442648" y="1876413"/>
                </a:cubicBezTo>
                <a:cubicBezTo>
                  <a:pt x="1508359" y="1942043"/>
                  <a:pt x="1609912" y="1956959"/>
                  <a:pt x="1705491" y="1924144"/>
                </a:cubicBezTo>
                <a:cubicBezTo>
                  <a:pt x="1705491" y="1924144"/>
                  <a:pt x="1705491" y="1924144"/>
                  <a:pt x="1209674" y="2419350"/>
                </a:cubicBezTo>
                <a:cubicBezTo>
                  <a:pt x="1209674" y="2419350"/>
                  <a:pt x="1209674" y="2419350"/>
                  <a:pt x="707883" y="1918178"/>
                </a:cubicBezTo>
                <a:cubicBezTo>
                  <a:pt x="743725" y="2016622"/>
                  <a:pt x="731777" y="2121033"/>
                  <a:pt x="663080" y="2189646"/>
                </a:cubicBezTo>
                <a:cubicBezTo>
                  <a:pt x="564514" y="2288091"/>
                  <a:pt x="385303" y="2270192"/>
                  <a:pt x="265829" y="2150865"/>
                </a:cubicBezTo>
                <a:cubicBezTo>
                  <a:pt x="146354" y="2031538"/>
                  <a:pt x="131420" y="1855531"/>
                  <a:pt x="229986" y="1757087"/>
                </a:cubicBezTo>
                <a:cubicBezTo>
                  <a:pt x="298684" y="1688474"/>
                  <a:pt x="403224" y="1673558"/>
                  <a:pt x="501790" y="1712339"/>
                </a:cubicBezTo>
                <a:cubicBezTo>
                  <a:pt x="501790" y="1712339"/>
                  <a:pt x="501790" y="1712339"/>
                  <a:pt x="88327" y="1296928"/>
                </a:cubicBezTo>
                <a:lnTo>
                  <a:pt x="1487" y="1209679"/>
                </a:lnTo>
                <a:lnTo>
                  <a:pt x="1488" y="1209679"/>
                </a:lnTo>
                <a:lnTo>
                  <a:pt x="0" y="1208184"/>
                </a:lnTo>
                <a:cubicBezTo>
                  <a:pt x="0" y="1208184"/>
                  <a:pt x="0" y="1208184"/>
                  <a:pt x="480883" y="727893"/>
                </a:cubicBezTo>
                <a:cubicBezTo>
                  <a:pt x="391277" y="751759"/>
                  <a:pt x="301672" y="733860"/>
                  <a:pt x="238948" y="674196"/>
                </a:cubicBezTo>
                <a:cubicBezTo>
                  <a:pt x="140382" y="575752"/>
                  <a:pt x="158303" y="396762"/>
                  <a:pt x="277777" y="277435"/>
                </a:cubicBezTo>
                <a:cubicBezTo>
                  <a:pt x="397251" y="158108"/>
                  <a:pt x="573475" y="143192"/>
                  <a:pt x="672041" y="241637"/>
                </a:cubicBezTo>
                <a:cubicBezTo>
                  <a:pt x="734765" y="301300"/>
                  <a:pt x="752686" y="393778"/>
                  <a:pt x="725805" y="483274"/>
                </a:cubicBezTo>
                <a:cubicBezTo>
                  <a:pt x="725805" y="483274"/>
                  <a:pt x="725805" y="483274"/>
                  <a:pt x="1124502" y="85068"/>
                </a:cubicBezTo>
                <a:lnTo>
                  <a:pt x="1209627" y="50"/>
                </a:lnTo>
                <a:lnTo>
                  <a:pt x="1209626" y="49"/>
                </a:lnTo>
                <a:close/>
              </a:path>
            </a:pathLst>
          </a:custGeom>
          <a:solidFill>
            <a:srgbClr val="006AF9">
              <a:alpha val="54000"/>
            </a:srgbClr>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10" name="Freeform 6">
            <a:extLst>
              <a:ext uri="{FF2B5EF4-FFF2-40B4-BE49-F238E27FC236}">
                <a16:creationId xmlns:a16="http://schemas.microsoft.com/office/drawing/2014/main" id="{A7D54170-4C71-6E7A-7B56-C39AFF2CFB1D}"/>
              </a:ext>
            </a:extLst>
          </p:cNvPr>
          <p:cNvSpPr>
            <a:spLocks/>
          </p:cNvSpPr>
          <p:nvPr/>
        </p:nvSpPr>
        <p:spPr bwMode="auto">
          <a:xfrm>
            <a:off x="7132234" y="150871"/>
            <a:ext cx="1816894" cy="1812131"/>
          </a:xfrm>
          <a:custGeom>
            <a:avLst/>
            <a:gdLst>
              <a:gd name="T0" fmla="*/ 730 w 811"/>
              <a:gd name="T1" fmla="*/ 585 h 810"/>
              <a:gd name="T2" fmla="*/ 649 w 811"/>
              <a:gd name="T3" fmla="*/ 567 h 810"/>
              <a:gd name="T4" fmla="*/ 811 w 811"/>
              <a:gd name="T5" fmla="*/ 405 h 810"/>
              <a:gd name="T6" fmla="*/ 645 w 811"/>
              <a:gd name="T7" fmla="*/ 239 h 810"/>
              <a:gd name="T8" fmla="*/ 629 w 811"/>
              <a:gd name="T9" fmla="*/ 327 h 810"/>
              <a:gd name="T10" fmla="*/ 496 w 811"/>
              <a:gd name="T11" fmla="*/ 314 h 810"/>
              <a:gd name="T12" fmla="*/ 484 w 811"/>
              <a:gd name="T13" fmla="*/ 182 h 810"/>
              <a:gd name="T14" fmla="*/ 571 w 811"/>
              <a:gd name="T15" fmla="*/ 166 h 810"/>
              <a:gd name="T16" fmla="*/ 405 w 811"/>
              <a:gd name="T17" fmla="*/ 0 h 810"/>
              <a:gd name="T18" fmla="*/ 244 w 811"/>
              <a:gd name="T19" fmla="*/ 161 h 810"/>
              <a:gd name="T20" fmla="*/ 325 w 811"/>
              <a:gd name="T21" fmla="*/ 179 h 810"/>
              <a:gd name="T22" fmla="*/ 312 w 811"/>
              <a:gd name="T23" fmla="*/ 312 h 810"/>
              <a:gd name="T24" fmla="*/ 180 w 811"/>
              <a:gd name="T25" fmla="*/ 325 h 810"/>
              <a:gd name="T26" fmla="*/ 162 w 811"/>
              <a:gd name="T27" fmla="*/ 243 h 810"/>
              <a:gd name="T28" fmla="*/ 0 w 811"/>
              <a:gd name="T29" fmla="*/ 405 h 810"/>
              <a:gd name="T30" fmla="*/ 405 w 811"/>
              <a:gd name="T31" fmla="*/ 810 h 810"/>
              <a:gd name="T32" fmla="*/ 567 w 811"/>
              <a:gd name="T33" fmla="*/ 649 h 810"/>
              <a:gd name="T34" fmla="*/ 585 w 811"/>
              <a:gd name="T35" fmla="*/ 730 h 810"/>
              <a:gd name="T36" fmla="*/ 718 w 811"/>
              <a:gd name="T37" fmla="*/ 718 h 810"/>
              <a:gd name="T38" fmla="*/ 730 w 811"/>
              <a:gd name="T39" fmla="*/ 585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1" h="810">
                <a:moveTo>
                  <a:pt x="730" y="585"/>
                </a:moveTo>
                <a:cubicBezTo>
                  <a:pt x="710" y="564"/>
                  <a:pt x="679" y="559"/>
                  <a:pt x="649" y="567"/>
                </a:cubicBezTo>
                <a:cubicBezTo>
                  <a:pt x="811" y="405"/>
                  <a:pt x="811" y="405"/>
                  <a:pt x="811" y="405"/>
                </a:cubicBezTo>
                <a:cubicBezTo>
                  <a:pt x="645" y="239"/>
                  <a:pt x="645" y="239"/>
                  <a:pt x="645" y="239"/>
                </a:cubicBezTo>
                <a:cubicBezTo>
                  <a:pt x="656" y="271"/>
                  <a:pt x="651" y="305"/>
                  <a:pt x="629" y="327"/>
                </a:cubicBezTo>
                <a:cubicBezTo>
                  <a:pt x="596" y="360"/>
                  <a:pt x="536" y="354"/>
                  <a:pt x="496" y="314"/>
                </a:cubicBezTo>
                <a:cubicBezTo>
                  <a:pt x="456" y="274"/>
                  <a:pt x="450" y="215"/>
                  <a:pt x="484" y="182"/>
                </a:cubicBezTo>
                <a:cubicBezTo>
                  <a:pt x="506" y="160"/>
                  <a:pt x="539" y="155"/>
                  <a:pt x="571" y="166"/>
                </a:cubicBezTo>
                <a:cubicBezTo>
                  <a:pt x="405" y="0"/>
                  <a:pt x="405" y="0"/>
                  <a:pt x="405" y="0"/>
                </a:cubicBezTo>
                <a:cubicBezTo>
                  <a:pt x="244" y="161"/>
                  <a:pt x="244" y="161"/>
                  <a:pt x="244" y="161"/>
                </a:cubicBezTo>
                <a:cubicBezTo>
                  <a:pt x="274" y="153"/>
                  <a:pt x="304" y="159"/>
                  <a:pt x="325" y="179"/>
                </a:cubicBezTo>
                <a:cubicBezTo>
                  <a:pt x="358" y="213"/>
                  <a:pt x="352" y="272"/>
                  <a:pt x="312" y="312"/>
                </a:cubicBezTo>
                <a:cubicBezTo>
                  <a:pt x="272" y="352"/>
                  <a:pt x="213" y="358"/>
                  <a:pt x="180" y="325"/>
                </a:cubicBezTo>
                <a:cubicBezTo>
                  <a:pt x="159" y="304"/>
                  <a:pt x="153" y="273"/>
                  <a:pt x="162" y="243"/>
                </a:cubicBezTo>
                <a:cubicBezTo>
                  <a:pt x="0" y="405"/>
                  <a:pt x="0" y="405"/>
                  <a:pt x="0" y="405"/>
                </a:cubicBezTo>
                <a:cubicBezTo>
                  <a:pt x="405" y="810"/>
                  <a:pt x="405" y="810"/>
                  <a:pt x="405" y="810"/>
                </a:cubicBezTo>
                <a:cubicBezTo>
                  <a:pt x="567" y="649"/>
                  <a:pt x="567" y="649"/>
                  <a:pt x="567" y="649"/>
                </a:cubicBezTo>
                <a:cubicBezTo>
                  <a:pt x="559" y="679"/>
                  <a:pt x="564" y="709"/>
                  <a:pt x="585" y="730"/>
                </a:cubicBezTo>
                <a:cubicBezTo>
                  <a:pt x="618" y="763"/>
                  <a:pt x="678" y="758"/>
                  <a:pt x="718" y="718"/>
                </a:cubicBezTo>
                <a:cubicBezTo>
                  <a:pt x="758" y="677"/>
                  <a:pt x="763" y="618"/>
                  <a:pt x="730" y="585"/>
                </a:cubicBezTo>
                <a:close/>
              </a:path>
            </a:pathLst>
          </a:custGeom>
          <a:solidFill>
            <a:srgbClr val="2DB060">
              <a:alpha val="54000"/>
            </a:srgbClr>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2" name="Title 1"/>
          <p:cNvSpPr>
            <a:spLocks noGrp="1"/>
          </p:cNvSpPr>
          <p:nvPr>
            <p:ph type="title"/>
          </p:nvPr>
        </p:nvSpPr>
        <p:spPr>
          <a:xfrm>
            <a:off x="564424" y="1898090"/>
            <a:ext cx="8005837" cy="1326355"/>
          </a:xfrm>
        </p:spPr>
        <p:txBody>
          <a:bodyPr>
            <a:normAutofit fontScale="90000"/>
          </a:bodyPr>
          <a:lstStyle/>
          <a:p>
            <a:r>
              <a:rPr lang="en-US" dirty="0"/>
              <a:t>Why collaboration between ABA &amp; Speech Matters</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8650" y="365125"/>
            <a:ext cx="7886700" cy="1325563"/>
          </a:xfrm>
        </p:spPr>
        <p:txBody>
          <a:bodyPr>
            <a:normAutofit/>
          </a:bodyPr>
          <a:lstStyle/>
          <a:p>
            <a:r>
              <a:rPr lang="en-US" sz="4700"/>
              <a:t>Autism and Communication</a:t>
            </a:r>
            <a:endParaRPr lang="en-US" sz="4700" dirty="0"/>
          </a:p>
        </p:txBody>
      </p:sp>
      <p:sp>
        <p:nvSpPr>
          <p:cNvPr id="18"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1777" y="1677373"/>
            <a:ext cx="8140446" cy="18288"/>
          </a:xfrm>
          <a:custGeom>
            <a:avLst/>
            <a:gdLst>
              <a:gd name="connsiteX0" fmla="*/ 0 w 8140446"/>
              <a:gd name="connsiteY0" fmla="*/ 0 h 18288"/>
              <a:gd name="connsiteX1" fmla="*/ 434157 w 8140446"/>
              <a:gd name="connsiteY1" fmla="*/ 0 h 18288"/>
              <a:gd name="connsiteX2" fmla="*/ 1193932 w 8140446"/>
              <a:gd name="connsiteY2" fmla="*/ 0 h 18288"/>
              <a:gd name="connsiteX3" fmla="*/ 1628089 w 8140446"/>
              <a:gd name="connsiteY3" fmla="*/ 0 h 18288"/>
              <a:gd name="connsiteX4" fmla="*/ 2225055 w 8140446"/>
              <a:gd name="connsiteY4" fmla="*/ 0 h 18288"/>
              <a:gd name="connsiteX5" fmla="*/ 3066235 w 8140446"/>
              <a:gd name="connsiteY5" fmla="*/ 0 h 18288"/>
              <a:gd name="connsiteX6" fmla="*/ 3744605 w 8140446"/>
              <a:gd name="connsiteY6" fmla="*/ 0 h 18288"/>
              <a:gd name="connsiteX7" fmla="*/ 4504380 w 8140446"/>
              <a:gd name="connsiteY7" fmla="*/ 0 h 18288"/>
              <a:gd name="connsiteX8" fmla="*/ 5101346 w 8140446"/>
              <a:gd name="connsiteY8" fmla="*/ 0 h 18288"/>
              <a:gd name="connsiteX9" fmla="*/ 5779717 w 8140446"/>
              <a:gd name="connsiteY9" fmla="*/ 0 h 18288"/>
              <a:gd name="connsiteX10" fmla="*/ 6620896 w 8140446"/>
              <a:gd name="connsiteY10" fmla="*/ 0 h 18288"/>
              <a:gd name="connsiteX11" fmla="*/ 7136458 w 8140446"/>
              <a:gd name="connsiteY11" fmla="*/ 0 h 18288"/>
              <a:gd name="connsiteX12" fmla="*/ 8140446 w 8140446"/>
              <a:gd name="connsiteY12" fmla="*/ 0 h 18288"/>
              <a:gd name="connsiteX13" fmla="*/ 8140446 w 8140446"/>
              <a:gd name="connsiteY13" fmla="*/ 18288 h 18288"/>
              <a:gd name="connsiteX14" fmla="*/ 7543480 w 8140446"/>
              <a:gd name="connsiteY14" fmla="*/ 18288 h 18288"/>
              <a:gd name="connsiteX15" fmla="*/ 7109323 w 8140446"/>
              <a:gd name="connsiteY15" fmla="*/ 18288 h 18288"/>
              <a:gd name="connsiteX16" fmla="*/ 6430952 w 8140446"/>
              <a:gd name="connsiteY16" fmla="*/ 18288 h 18288"/>
              <a:gd name="connsiteX17" fmla="*/ 5915391 w 8140446"/>
              <a:gd name="connsiteY17" fmla="*/ 18288 h 18288"/>
              <a:gd name="connsiteX18" fmla="*/ 5237020 w 8140446"/>
              <a:gd name="connsiteY18" fmla="*/ 18288 h 18288"/>
              <a:gd name="connsiteX19" fmla="*/ 4558650 w 8140446"/>
              <a:gd name="connsiteY19" fmla="*/ 18288 h 18288"/>
              <a:gd name="connsiteX20" fmla="*/ 3880279 w 8140446"/>
              <a:gd name="connsiteY20" fmla="*/ 18288 h 18288"/>
              <a:gd name="connsiteX21" fmla="*/ 3201909 w 8140446"/>
              <a:gd name="connsiteY21" fmla="*/ 18288 h 18288"/>
              <a:gd name="connsiteX22" fmla="*/ 2604943 w 8140446"/>
              <a:gd name="connsiteY22" fmla="*/ 18288 h 18288"/>
              <a:gd name="connsiteX23" fmla="*/ 1845168 w 8140446"/>
              <a:gd name="connsiteY23" fmla="*/ 18288 h 18288"/>
              <a:gd name="connsiteX24" fmla="*/ 1166797 w 8140446"/>
              <a:gd name="connsiteY24" fmla="*/ 18288 h 18288"/>
              <a:gd name="connsiteX25" fmla="*/ 0 w 8140446"/>
              <a:gd name="connsiteY25" fmla="*/ 18288 h 18288"/>
              <a:gd name="connsiteX26" fmla="*/ 0 w 8140446"/>
              <a:gd name="connsiteY2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140446" h="18288" fill="none" extrusionOk="0">
                <a:moveTo>
                  <a:pt x="0" y="0"/>
                </a:moveTo>
                <a:cubicBezTo>
                  <a:pt x="94920" y="9103"/>
                  <a:pt x="287892" y="-4966"/>
                  <a:pt x="434157" y="0"/>
                </a:cubicBezTo>
                <a:cubicBezTo>
                  <a:pt x="580422" y="4966"/>
                  <a:pt x="943595" y="-14182"/>
                  <a:pt x="1193932" y="0"/>
                </a:cubicBezTo>
                <a:cubicBezTo>
                  <a:pt x="1444270" y="14182"/>
                  <a:pt x="1472129" y="5523"/>
                  <a:pt x="1628089" y="0"/>
                </a:cubicBezTo>
                <a:cubicBezTo>
                  <a:pt x="1784049" y="-5523"/>
                  <a:pt x="1962419" y="-17322"/>
                  <a:pt x="2225055" y="0"/>
                </a:cubicBezTo>
                <a:cubicBezTo>
                  <a:pt x="2487691" y="17322"/>
                  <a:pt x="2700681" y="1311"/>
                  <a:pt x="3066235" y="0"/>
                </a:cubicBezTo>
                <a:cubicBezTo>
                  <a:pt x="3431789" y="-1311"/>
                  <a:pt x="3405662" y="25081"/>
                  <a:pt x="3744605" y="0"/>
                </a:cubicBezTo>
                <a:cubicBezTo>
                  <a:pt x="4083548" y="-25081"/>
                  <a:pt x="4265111" y="-11945"/>
                  <a:pt x="4504380" y="0"/>
                </a:cubicBezTo>
                <a:cubicBezTo>
                  <a:pt x="4743649" y="11945"/>
                  <a:pt x="4860394" y="-2832"/>
                  <a:pt x="5101346" y="0"/>
                </a:cubicBezTo>
                <a:cubicBezTo>
                  <a:pt x="5342298" y="2832"/>
                  <a:pt x="5456387" y="23676"/>
                  <a:pt x="5779717" y="0"/>
                </a:cubicBezTo>
                <a:cubicBezTo>
                  <a:pt x="6103047" y="-23676"/>
                  <a:pt x="6270379" y="-37291"/>
                  <a:pt x="6620896" y="0"/>
                </a:cubicBezTo>
                <a:cubicBezTo>
                  <a:pt x="6971413" y="37291"/>
                  <a:pt x="6989068" y="24674"/>
                  <a:pt x="7136458" y="0"/>
                </a:cubicBezTo>
                <a:cubicBezTo>
                  <a:pt x="7283848" y="-24674"/>
                  <a:pt x="7752532" y="-22436"/>
                  <a:pt x="8140446" y="0"/>
                </a:cubicBezTo>
                <a:cubicBezTo>
                  <a:pt x="8140314" y="7702"/>
                  <a:pt x="8140234" y="13511"/>
                  <a:pt x="8140446" y="18288"/>
                </a:cubicBezTo>
                <a:cubicBezTo>
                  <a:pt x="7906329" y="-3043"/>
                  <a:pt x="7681180" y="27465"/>
                  <a:pt x="7543480" y="18288"/>
                </a:cubicBezTo>
                <a:cubicBezTo>
                  <a:pt x="7405780" y="9111"/>
                  <a:pt x="7216607" y="3660"/>
                  <a:pt x="7109323" y="18288"/>
                </a:cubicBezTo>
                <a:cubicBezTo>
                  <a:pt x="7002039" y="32916"/>
                  <a:pt x="6576231" y="42692"/>
                  <a:pt x="6430952" y="18288"/>
                </a:cubicBezTo>
                <a:cubicBezTo>
                  <a:pt x="6285673" y="-6116"/>
                  <a:pt x="6138840" y="34521"/>
                  <a:pt x="5915391" y="18288"/>
                </a:cubicBezTo>
                <a:cubicBezTo>
                  <a:pt x="5691942" y="2055"/>
                  <a:pt x="5459460" y="51666"/>
                  <a:pt x="5237020" y="18288"/>
                </a:cubicBezTo>
                <a:cubicBezTo>
                  <a:pt x="5014580" y="-15090"/>
                  <a:pt x="4747677" y="40449"/>
                  <a:pt x="4558650" y="18288"/>
                </a:cubicBezTo>
                <a:cubicBezTo>
                  <a:pt x="4369623" y="-3873"/>
                  <a:pt x="4146061" y="12568"/>
                  <a:pt x="3880279" y="18288"/>
                </a:cubicBezTo>
                <a:cubicBezTo>
                  <a:pt x="3614497" y="24008"/>
                  <a:pt x="3473808" y="-12908"/>
                  <a:pt x="3201909" y="18288"/>
                </a:cubicBezTo>
                <a:cubicBezTo>
                  <a:pt x="2930010" y="49484"/>
                  <a:pt x="2728175" y="-3430"/>
                  <a:pt x="2604943" y="18288"/>
                </a:cubicBezTo>
                <a:cubicBezTo>
                  <a:pt x="2481711" y="40006"/>
                  <a:pt x="2004334" y="26952"/>
                  <a:pt x="1845168" y="18288"/>
                </a:cubicBezTo>
                <a:cubicBezTo>
                  <a:pt x="1686003" y="9624"/>
                  <a:pt x="1375070" y="37580"/>
                  <a:pt x="1166797" y="18288"/>
                </a:cubicBezTo>
                <a:cubicBezTo>
                  <a:pt x="958524" y="-1004"/>
                  <a:pt x="342846" y="8880"/>
                  <a:pt x="0" y="18288"/>
                </a:cubicBezTo>
                <a:cubicBezTo>
                  <a:pt x="129" y="13298"/>
                  <a:pt x="-675" y="6857"/>
                  <a:pt x="0" y="0"/>
                </a:cubicBezTo>
                <a:close/>
              </a:path>
              <a:path w="8140446" h="18288" stroke="0" extrusionOk="0">
                <a:moveTo>
                  <a:pt x="0" y="0"/>
                </a:moveTo>
                <a:cubicBezTo>
                  <a:pt x="142435" y="-24533"/>
                  <a:pt x="380026" y="17447"/>
                  <a:pt x="596966" y="0"/>
                </a:cubicBezTo>
                <a:cubicBezTo>
                  <a:pt x="813906" y="-17447"/>
                  <a:pt x="830530" y="13462"/>
                  <a:pt x="1031123" y="0"/>
                </a:cubicBezTo>
                <a:cubicBezTo>
                  <a:pt x="1231716" y="-13462"/>
                  <a:pt x="1634038" y="0"/>
                  <a:pt x="1872303" y="0"/>
                </a:cubicBezTo>
                <a:cubicBezTo>
                  <a:pt x="2110568" y="0"/>
                  <a:pt x="2261934" y="-25727"/>
                  <a:pt x="2469269" y="0"/>
                </a:cubicBezTo>
                <a:cubicBezTo>
                  <a:pt x="2676604" y="25727"/>
                  <a:pt x="2790440" y="16284"/>
                  <a:pt x="3066235" y="0"/>
                </a:cubicBezTo>
                <a:cubicBezTo>
                  <a:pt x="3342030" y="-16284"/>
                  <a:pt x="3685603" y="41976"/>
                  <a:pt x="3907414" y="0"/>
                </a:cubicBezTo>
                <a:cubicBezTo>
                  <a:pt x="4129225" y="-41976"/>
                  <a:pt x="4177416" y="-7598"/>
                  <a:pt x="4422976" y="0"/>
                </a:cubicBezTo>
                <a:cubicBezTo>
                  <a:pt x="4668536" y="7598"/>
                  <a:pt x="5023499" y="-28058"/>
                  <a:pt x="5264155" y="0"/>
                </a:cubicBezTo>
                <a:cubicBezTo>
                  <a:pt x="5504811" y="28058"/>
                  <a:pt x="5703675" y="13288"/>
                  <a:pt x="6105335" y="0"/>
                </a:cubicBezTo>
                <a:cubicBezTo>
                  <a:pt x="6506995" y="-13288"/>
                  <a:pt x="6455516" y="-5124"/>
                  <a:pt x="6783705" y="0"/>
                </a:cubicBezTo>
                <a:cubicBezTo>
                  <a:pt x="7111894" y="5124"/>
                  <a:pt x="7512856" y="10604"/>
                  <a:pt x="8140446" y="0"/>
                </a:cubicBezTo>
                <a:cubicBezTo>
                  <a:pt x="8140458" y="8833"/>
                  <a:pt x="8140986" y="9830"/>
                  <a:pt x="8140446" y="18288"/>
                </a:cubicBezTo>
                <a:cubicBezTo>
                  <a:pt x="7959314" y="3345"/>
                  <a:pt x="7870113" y="10437"/>
                  <a:pt x="7706289" y="18288"/>
                </a:cubicBezTo>
                <a:cubicBezTo>
                  <a:pt x="7542465" y="26139"/>
                  <a:pt x="7157940" y="17482"/>
                  <a:pt x="6865109" y="18288"/>
                </a:cubicBezTo>
                <a:cubicBezTo>
                  <a:pt x="6572278" y="19094"/>
                  <a:pt x="6524256" y="38051"/>
                  <a:pt x="6349548" y="18288"/>
                </a:cubicBezTo>
                <a:cubicBezTo>
                  <a:pt x="6174840" y="-1475"/>
                  <a:pt x="5951624" y="174"/>
                  <a:pt x="5671177" y="18288"/>
                </a:cubicBezTo>
                <a:cubicBezTo>
                  <a:pt x="5390730" y="36402"/>
                  <a:pt x="5222992" y="60058"/>
                  <a:pt x="4829998" y="18288"/>
                </a:cubicBezTo>
                <a:cubicBezTo>
                  <a:pt x="4437004" y="-23482"/>
                  <a:pt x="4344181" y="39087"/>
                  <a:pt x="4151627" y="18288"/>
                </a:cubicBezTo>
                <a:cubicBezTo>
                  <a:pt x="3959073" y="-2511"/>
                  <a:pt x="3886970" y="32875"/>
                  <a:pt x="3717470" y="18288"/>
                </a:cubicBezTo>
                <a:cubicBezTo>
                  <a:pt x="3547970" y="3701"/>
                  <a:pt x="3451521" y="31872"/>
                  <a:pt x="3201909" y="18288"/>
                </a:cubicBezTo>
                <a:cubicBezTo>
                  <a:pt x="2952297" y="4704"/>
                  <a:pt x="2543413" y="6029"/>
                  <a:pt x="2360729" y="18288"/>
                </a:cubicBezTo>
                <a:cubicBezTo>
                  <a:pt x="2178045" y="30547"/>
                  <a:pt x="1906056" y="25847"/>
                  <a:pt x="1682359" y="18288"/>
                </a:cubicBezTo>
                <a:cubicBezTo>
                  <a:pt x="1458662" y="10730"/>
                  <a:pt x="1330405" y="8046"/>
                  <a:pt x="1166797" y="18288"/>
                </a:cubicBezTo>
                <a:cubicBezTo>
                  <a:pt x="1003189" y="28530"/>
                  <a:pt x="278098" y="19533"/>
                  <a:pt x="0" y="18288"/>
                </a:cubicBezTo>
                <a:cubicBezTo>
                  <a:pt x="74" y="14054"/>
                  <a:pt x="-46" y="6997"/>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0CF1C1F4-2892-E9EB-0C15-8EC08D2BAA16}"/>
              </a:ext>
            </a:extLst>
          </p:cNvPr>
          <p:cNvSpPr>
            <a:spLocks noGrp="1"/>
          </p:cNvSpPr>
          <p:nvPr>
            <p:ph idx="1"/>
          </p:nvPr>
        </p:nvSpPr>
        <p:spPr>
          <a:xfrm>
            <a:off x="628650" y="1929384"/>
            <a:ext cx="7886700" cy="4251960"/>
          </a:xfrm>
        </p:spPr>
        <p:txBody>
          <a:bodyPr>
            <a:normAutofit/>
          </a:bodyPr>
          <a:lstStyle/>
          <a:p>
            <a:pPr marL="0" indent="0">
              <a:buNone/>
            </a:pPr>
            <a:r>
              <a:rPr lang="en-US" sz="1900" dirty="0"/>
              <a:t>Autism affects how children communicate, interact, and process information.</a:t>
            </a:r>
          </a:p>
          <a:p>
            <a:r>
              <a:rPr lang="en-US" sz="1900" dirty="0"/>
              <a:t>Common communication profiles include:</a:t>
            </a:r>
          </a:p>
          <a:p>
            <a:pPr marL="0" indent="0">
              <a:buNone/>
            </a:pPr>
            <a:r>
              <a:rPr lang="en-US" sz="1900" dirty="0"/>
              <a:t>• Nonverbal: Relies on gestures, devices, or other non-spoken methods.</a:t>
            </a:r>
          </a:p>
          <a:p>
            <a:pPr marL="0" indent="0">
              <a:buNone/>
            </a:pPr>
            <a:r>
              <a:rPr lang="en-US" sz="1900" dirty="0"/>
              <a:t>• Minimally verbal: Uses single words or short phrases.</a:t>
            </a:r>
          </a:p>
          <a:p>
            <a:pPr marL="0" indent="0">
              <a:buNone/>
            </a:pPr>
            <a:r>
              <a:rPr lang="en-US" sz="1900" dirty="0"/>
              <a:t>• Echolalia: Repeats words or phrases instead of answering directly.</a:t>
            </a:r>
          </a:p>
          <a:p>
            <a:pPr marL="0" indent="0">
              <a:buNone/>
            </a:pPr>
            <a:r>
              <a:rPr lang="en-US" sz="1900" dirty="0"/>
              <a:t>• AAC (Augmentative and Alternative Communication): Tools such as speech devices or picture systems that help express needs.</a:t>
            </a:r>
          </a:p>
          <a:p>
            <a:pPr marL="0" indent="0">
              <a:buNone/>
            </a:pPr>
            <a:r>
              <a:rPr lang="en-US" sz="1900" dirty="0"/>
              <a:t>• Social communication challenges: Difficulty taking turns, starting conversations, or understanding cues.</a:t>
            </a:r>
          </a:p>
          <a:p>
            <a:endParaRPr lang="en-US" sz="19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F.kzHgcoVsiIERK8_YtF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1519</TotalTime>
  <Words>1542</Words>
  <Application>Microsoft Macintosh PowerPoint</Application>
  <PresentationFormat>On-screen Show (4:3)</PresentationFormat>
  <Paragraphs>122</Paragraphs>
  <Slides>18</Slides>
  <Notes>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9" baseType="lpstr">
      <vt:lpstr>Aptos</vt:lpstr>
      <vt:lpstr>Arial</vt:lpstr>
      <vt:lpstr>Avenir</vt:lpstr>
      <vt:lpstr>Calibri</vt:lpstr>
      <vt:lpstr>Lato</vt:lpstr>
      <vt:lpstr>Segoe UI</vt:lpstr>
      <vt:lpstr>Segoe UI Black</vt:lpstr>
      <vt:lpstr>Segoe UI Semibold</vt:lpstr>
      <vt:lpstr>Wingdings</vt:lpstr>
      <vt:lpstr>Office Theme</vt:lpstr>
      <vt:lpstr>think-cell Slide</vt:lpstr>
      <vt:lpstr>PowerPoint Presentation</vt:lpstr>
      <vt:lpstr>PowerPoint Presentation</vt:lpstr>
      <vt:lpstr>What Is Autism?</vt:lpstr>
      <vt:lpstr>AUTISM SPECTRUM DISORDER</vt:lpstr>
      <vt:lpstr>What Is ABA?</vt:lpstr>
      <vt:lpstr>Key Principles of ABA</vt:lpstr>
      <vt:lpstr>Addressing Common Misconceptions</vt:lpstr>
      <vt:lpstr>Why collaboration between ABA &amp; Speech Matters</vt:lpstr>
      <vt:lpstr>Autism and Communication</vt:lpstr>
      <vt:lpstr>Core ABA Strategies That Support Speech Therapy</vt:lpstr>
      <vt:lpstr>Collaborating Effectively </vt:lpstr>
      <vt:lpstr>Scenario 1: Device Refusal</vt:lpstr>
      <vt:lpstr>Scenario 2: Noncompliance with Task</vt:lpstr>
      <vt:lpstr>Scenario 3: Echolalia</vt:lpstr>
      <vt:lpstr>Scenario 4: Transition Trouble</vt:lpstr>
      <vt:lpstr>Joint Planning Activity</vt:lpstr>
      <vt:lpstr>Wrap-Up &amp; Discussion</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generated using python-pptx</dc:description>
  <cp:lastModifiedBy>Michaela Taylor</cp:lastModifiedBy>
  <cp:revision>5</cp:revision>
  <dcterms:created xsi:type="dcterms:W3CDTF">2013-01-27T09:14:16Z</dcterms:created>
  <dcterms:modified xsi:type="dcterms:W3CDTF">2025-10-24T01:26:14Z</dcterms:modified>
  <cp:category/>
</cp:coreProperties>
</file>